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7.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8.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1.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12.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13.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16.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17.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notesSlides/notesSlide18.xml" ContentType="application/vnd.openxmlformats-officedocument.presentationml.notesSlide+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notesSlides/notesSlide19.xml" ContentType="application/vnd.openxmlformats-officedocument.presentationml.notesSlide+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notesSlides/notesSlide20.xml" ContentType="application/vnd.openxmlformats-officedocument.presentationml.notesSlide+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notesSlides/notesSlide21.xml" ContentType="application/vnd.openxmlformats-officedocument.presentationml.notesSlide+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notesSlides/notesSlide22.xml" ContentType="application/vnd.openxmlformats-officedocument.presentationml.notesSlide+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4" r:id="rId1"/>
  </p:sldMasterIdLst>
  <p:notesMasterIdLst>
    <p:notesMasterId r:id="rId27"/>
  </p:notesMasterIdLst>
  <p:handoutMasterIdLst>
    <p:handoutMasterId r:id="rId28"/>
  </p:handoutMasterIdLst>
  <p:sldIdLst>
    <p:sldId id="532" r:id="rId2"/>
    <p:sldId id="533" r:id="rId3"/>
    <p:sldId id="534" r:id="rId4"/>
    <p:sldId id="535" r:id="rId5"/>
    <p:sldId id="536" r:id="rId6"/>
    <p:sldId id="413" r:id="rId7"/>
    <p:sldId id="416" r:id="rId8"/>
    <p:sldId id="414" r:id="rId9"/>
    <p:sldId id="419" r:id="rId10"/>
    <p:sldId id="537" r:id="rId11"/>
    <p:sldId id="415" r:id="rId12"/>
    <p:sldId id="417" r:id="rId13"/>
    <p:sldId id="418" r:id="rId14"/>
    <p:sldId id="420" r:id="rId15"/>
    <p:sldId id="538" r:id="rId16"/>
    <p:sldId id="539" r:id="rId17"/>
    <p:sldId id="422" r:id="rId18"/>
    <p:sldId id="423" r:id="rId19"/>
    <p:sldId id="424" r:id="rId20"/>
    <p:sldId id="426" r:id="rId21"/>
    <p:sldId id="427" r:id="rId22"/>
    <p:sldId id="431" r:id="rId23"/>
    <p:sldId id="433" r:id="rId24"/>
    <p:sldId id="434" r:id="rId25"/>
    <p:sldId id="540" r:id="rId26"/>
  </p:sldIdLst>
  <p:sldSz cx="12188825"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3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see, Joseph" initials="LJ" lastIdx="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6699"/>
    <a:srgbClr val="6699FF"/>
    <a:srgbClr val="B9B9B9"/>
    <a:srgbClr val="00668A"/>
    <a:srgbClr val="3F3F3F"/>
    <a:srgbClr val="0070C0"/>
    <a:srgbClr val="FFFFFF"/>
    <a:srgbClr val="0D0D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809" autoAdjust="0"/>
    <p:restoredTop sz="80136" autoAdjust="0"/>
  </p:normalViewPr>
  <p:slideViewPr>
    <p:cSldViewPr>
      <p:cViewPr varScale="1">
        <p:scale>
          <a:sx n="101" d="100"/>
          <a:sy n="101" d="100"/>
        </p:scale>
        <p:origin x="1336" y="192"/>
      </p:cViewPr>
      <p:guideLst>
        <p:guide orient="horz" pos="2160"/>
        <p:guide pos="3839"/>
      </p:guideLst>
    </p:cSldViewPr>
  </p:slideViewPr>
  <p:outlineViewPr>
    <p:cViewPr>
      <p:scale>
        <a:sx n="33" d="100"/>
        <a:sy n="33" d="100"/>
      </p:scale>
      <p:origin x="0" y="0"/>
    </p:cViewPr>
  </p:outlineViewPr>
  <p:notesTextViewPr>
    <p:cViewPr>
      <p:scale>
        <a:sx n="1" d="1"/>
        <a:sy n="1" d="1"/>
      </p:scale>
      <p:origin x="0" y="0"/>
    </p:cViewPr>
  </p:notesTextViewPr>
  <p:sorterViewPr>
    <p:cViewPr>
      <p:scale>
        <a:sx n="110" d="100"/>
        <a:sy n="110" d="100"/>
      </p:scale>
      <p:origin x="0" y="-19454"/>
    </p:cViewPr>
  </p:sorterViewPr>
  <p:notesViewPr>
    <p:cSldViewPr>
      <p:cViewPr varScale="1">
        <p:scale>
          <a:sx n="66" d="100"/>
          <a:sy n="66" d="100"/>
        </p:scale>
        <p:origin x="3043" y="7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BC2DB20-EFFD-4E7B-93C1-553BACDC4218}" type="doc">
      <dgm:prSet loTypeId="urn:microsoft.com/office/officeart/2008/layout/LinedList" loCatId="" qsTypeId="urn:microsoft.com/office/officeart/2005/8/quickstyle/simple3" qsCatId="simple" csTypeId="urn:microsoft.com/office/officeart/2005/8/colors/accent1_2" csCatId="accent1" phldr="1"/>
      <dgm:spPr/>
      <dgm:t>
        <a:bodyPr/>
        <a:lstStyle/>
        <a:p>
          <a:endParaRPr lang="en-US"/>
        </a:p>
      </dgm:t>
    </dgm:pt>
    <dgm:pt modelId="{5CB291CD-C87A-4E73-A31F-A5E8DC48EC04}">
      <dgm:prSet/>
      <dgm:spPr/>
      <dgm:t>
        <a:bodyPr/>
        <a:lstStyle/>
        <a:p>
          <a:r>
            <a:rPr lang="en-US" dirty="0"/>
            <a:t>Installing ProFile</a:t>
          </a:r>
        </a:p>
      </dgm:t>
    </dgm:pt>
    <dgm:pt modelId="{E99F5492-A06F-4526-99D6-3D5D0DAAB8D2}" type="parTrans" cxnId="{C8BF1404-11AF-480F-8668-46368F1D8C9B}">
      <dgm:prSet/>
      <dgm:spPr/>
      <dgm:t>
        <a:bodyPr/>
        <a:lstStyle/>
        <a:p>
          <a:endParaRPr lang="en-US"/>
        </a:p>
      </dgm:t>
    </dgm:pt>
    <dgm:pt modelId="{EB8001B5-1F3F-4B4C-99B7-5E44380F79E6}" type="sibTrans" cxnId="{C8BF1404-11AF-480F-8668-46368F1D8C9B}">
      <dgm:prSet/>
      <dgm:spPr/>
      <dgm:t>
        <a:bodyPr/>
        <a:lstStyle/>
        <a:p>
          <a:endParaRPr lang="en-US"/>
        </a:p>
      </dgm:t>
    </dgm:pt>
    <dgm:pt modelId="{36563EE1-3303-2E4E-95E5-5B45720A99FB}">
      <dgm:prSet/>
      <dgm:spPr/>
      <dgm:t>
        <a:bodyPr/>
        <a:lstStyle/>
        <a:p>
          <a:r>
            <a:rPr lang="en-US" dirty="0"/>
            <a:t>Single user installation</a:t>
          </a:r>
        </a:p>
      </dgm:t>
    </dgm:pt>
    <dgm:pt modelId="{F10C2558-B2A1-F546-9407-638C3A041175}" type="parTrans" cxnId="{744AD923-5AC2-FF44-BF5A-4DA3DAC38D6E}">
      <dgm:prSet/>
      <dgm:spPr/>
      <dgm:t>
        <a:bodyPr/>
        <a:lstStyle/>
        <a:p>
          <a:endParaRPr lang="en-CA"/>
        </a:p>
      </dgm:t>
    </dgm:pt>
    <dgm:pt modelId="{6D3563EE-58B2-384B-82D4-175E1085DD0E}" type="sibTrans" cxnId="{744AD923-5AC2-FF44-BF5A-4DA3DAC38D6E}">
      <dgm:prSet/>
      <dgm:spPr/>
      <dgm:t>
        <a:bodyPr/>
        <a:lstStyle/>
        <a:p>
          <a:endParaRPr lang="en-CA"/>
        </a:p>
      </dgm:t>
    </dgm:pt>
    <dgm:pt modelId="{3FEE7A2B-4999-824E-AC94-EA149D3523D2}">
      <dgm:prSet/>
      <dgm:spPr/>
      <dgm:t>
        <a:bodyPr/>
        <a:lstStyle/>
        <a:p>
          <a:r>
            <a:rPr lang="en-US" dirty="0"/>
            <a:t>Multi-user installation</a:t>
          </a:r>
        </a:p>
      </dgm:t>
    </dgm:pt>
    <dgm:pt modelId="{1CCB9001-7A87-5C43-A98C-474EBA690731}" type="parTrans" cxnId="{4ED7F6F2-F56F-4F45-880D-17BE41C0D22F}">
      <dgm:prSet/>
      <dgm:spPr/>
      <dgm:t>
        <a:bodyPr/>
        <a:lstStyle/>
        <a:p>
          <a:endParaRPr lang="en-CA"/>
        </a:p>
      </dgm:t>
    </dgm:pt>
    <dgm:pt modelId="{8079771B-4889-7D49-9155-D43683E77E96}" type="sibTrans" cxnId="{4ED7F6F2-F56F-4F45-880D-17BE41C0D22F}">
      <dgm:prSet/>
      <dgm:spPr/>
      <dgm:t>
        <a:bodyPr/>
        <a:lstStyle/>
        <a:p>
          <a:endParaRPr lang="en-CA"/>
        </a:p>
      </dgm:t>
    </dgm:pt>
    <dgm:pt modelId="{20E7D8AB-FCE6-BD41-A3F5-9F5CE1A8F549}">
      <dgm:prSet/>
      <dgm:spPr/>
      <dgm:t>
        <a:bodyPr/>
        <a:lstStyle/>
        <a:p>
          <a:r>
            <a:rPr lang="en-US" dirty="0"/>
            <a:t>Activation</a:t>
          </a:r>
        </a:p>
      </dgm:t>
    </dgm:pt>
    <dgm:pt modelId="{F86BE984-3DDD-9543-A75C-AFB105314FE5}" type="parTrans" cxnId="{B3E804E9-9FD9-2542-8E95-3BD18D95EA73}">
      <dgm:prSet/>
      <dgm:spPr/>
      <dgm:t>
        <a:bodyPr/>
        <a:lstStyle/>
        <a:p>
          <a:endParaRPr lang="en-CA"/>
        </a:p>
      </dgm:t>
    </dgm:pt>
    <dgm:pt modelId="{3C299E17-75F9-DD48-8946-0DFE44336A93}" type="sibTrans" cxnId="{B3E804E9-9FD9-2542-8E95-3BD18D95EA73}">
      <dgm:prSet/>
      <dgm:spPr/>
      <dgm:t>
        <a:bodyPr/>
        <a:lstStyle/>
        <a:p>
          <a:endParaRPr lang="en-CA"/>
        </a:p>
      </dgm:t>
    </dgm:pt>
    <dgm:pt modelId="{2624F628-459C-2340-8E0C-40CE855A070F}">
      <dgm:prSet/>
      <dgm:spPr/>
      <dgm:t>
        <a:bodyPr/>
        <a:lstStyle/>
        <a:p>
          <a:r>
            <a:rPr lang="en-US" dirty="0"/>
            <a:t>Licensing information</a:t>
          </a:r>
        </a:p>
      </dgm:t>
    </dgm:pt>
    <dgm:pt modelId="{AE73DBBE-CD9A-5D4B-B8E0-4E074202C2CC}" type="parTrans" cxnId="{B1E6C37F-ADF1-0149-8455-F457FFA3FB19}">
      <dgm:prSet/>
      <dgm:spPr/>
      <dgm:t>
        <a:bodyPr/>
        <a:lstStyle/>
        <a:p>
          <a:endParaRPr lang="en-CA"/>
        </a:p>
      </dgm:t>
    </dgm:pt>
    <dgm:pt modelId="{8C1C67B6-0AEF-B748-970C-F062DBE88930}" type="sibTrans" cxnId="{B1E6C37F-ADF1-0149-8455-F457FFA3FB19}">
      <dgm:prSet/>
      <dgm:spPr/>
      <dgm:t>
        <a:bodyPr/>
        <a:lstStyle/>
        <a:p>
          <a:endParaRPr lang="en-CA"/>
        </a:p>
      </dgm:t>
    </dgm:pt>
    <dgm:pt modelId="{383CDE07-7640-A74C-89AF-2DD3B995A0C5}">
      <dgm:prSet/>
      <dgm:spPr/>
      <dgm:t>
        <a:bodyPr/>
        <a:lstStyle/>
        <a:p>
          <a:r>
            <a:rPr lang="en-US" dirty="0"/>
            <a:t>Managing Licenses</a:t>
          </a:r>
        </a:p>
      </dgm:t>
    </dgm:pt>
    <dgm:pt modelId="{F7F2182A-2CC9-AD4D-922F-03E589F2513F}" type="parTrans" cxnId="{6B42CBB7-EBEC-924A-9D0B-F5C33968B9E1}">
      <dgm:prSet/>
      <dgm:spPr/>
      <dgm:t>
        <a:bodyPr/>
        <a:lstStyle/>
        <a:p>
          <a:endParaRPr lang="en-CA"/>
        </a:p>
      </dgm:t>
    </dgm:pt>
    <dgm:pt modelId="{2273EECA-ADE8-0D4C-B519-584CDF49C545}" type="sibTrans" cxnId="{6B42CBB7-EBEC-924A-9D0B-F5C33968B9E1}">
      <dgm:prSet/>
      <dgm:spPr/>
      <dgm:t>
        <a:bodyPr/>
        <a:lstStyle/>
        <a:p>
          <a:endParaRPr lang="en-CA"/>
        </a:p>
      </dgm:t>
    </dgm:pt>
    <dgm:pt modelId="{5807EF87-798C-8C40-98B2-C8C2F88C2044}">
      <dgm:prSet/>
      <dgm:spPr/>
      <dgm:t>
        <a:bodyPr/>
        <a:lstStyle/>
        <a:p>
          <a:r>
            <a:rPr lang="en-US" dirty="0"/>
            <a:t>Adding &amp; deleting</a:t>
          </a:r>
        </a:p>
      </dgm:t>
    </dgm:pt>
    <dgm:pt modelId="{F9FBA5F4-115D-3E47-BF83-F18EA7C846B0}" type="parTrans" cxnId="{5D08CE00-5FDE-574F-A1EC-691642D9361A}">
      <dgm:prSet/>
      <dgm:spPr/>
      <dgm:t>
        <a:bodyPr/>
        <a:lstStyle/>
        <a:p>
          <a:endParaRPr lang="en-CA"/>
        </a:p>
      </dgm:t>
    </dgm:pt>
    <dgm:pt modelId="{D4130848-39A8-884E-B11A-2E9C93E4A40D}" type="sibTrans" cxnId="{5D08CE00-5FDE-574F-A1EC-691642D9361A}">
      <dgm:prSet/>
      <dgm:spPr/>
      <dgm:t>
        <a:bodyPr/>
        <a:lstStyle/>
        <a:p>
          <a:endParaRPr lang="en-CA"/>
        </a:p>
      </dgm:t>
    </dgm:pt>
    <dgm:pt modelId="{C5EE647A-EEA4-8E4D-897B-5D91313EC19B}" type="pres">
      <dgm:prSet presAssocID="{7BC2DB20-EFFD-4E7B-93C1-553BACDC4218}" presName="vert0" presStyleCnt="0">
        <dgm:presLayoutVars>
          <dgm:dir/>
          <dgm:animOne val="branch"/>
          <dgm:animLvl val="lvl"/>
        </dgm:presLayoutVars>
      </dgm:prSet>
      <dgm:spPr/>
    </dgm:pt>
    <dgm:pt modelId="{6E86387F-48E5-9840-B2B1-6BE9A0A4131A}" type="pres">
      <dgm:prSet presAssocID="{5CB291CD-C87A-4E73-A31F-A5E8DC48EC04}" presName="thickLine" presStyleLbl="alignNode1" presStyleIdx="0" presStyleCnt="3"/>
      <dgm:spPr/>
    </dgm:pt>
    <dgm:pt modelId="{6606659B-EB42-BA47-A307-EC5C0F2D146C}" type="pres">
      <dgm:prSet presAssocID="{5CB291CD-C87A-4E73-A31F-A5E8DC48EC04}" presName="horz1" presStyleCnt="0"/>
      <dgm:spPr/>
    </dgm:pt>
    <dgm:pt modelId="{8A244672-D23A-A045-B925-853BADFEE351}" type="pres">
      <dgm:prSet presAssocID="{5CB291CD-C87A-4E73-A31F-A5E8DC48EC04}" presName="tx1" presStyleLbl="revTx" presStyleIdx="0" presStyleCnt="7"/>
      <dgm:spPr/>
    </dgm:pt>
    <dgm:pt modelId="{24988038-B6D9-6E47-A52B-7F1E6925A895}" type="pres">
      <dgm:prSet presAssocID="{5CB291CD-C87A-4E73-A31F-A5E8DC48EC04}" presName="vert1" presStyleCnt="0"/>
      <dgm:spPr/>
    </dgm:pt>
    <dgm:pt modelId="{79812834-A352-E144-9DDF-1B4F85C99CF8}" type="pres">
      <dgm:prSet presAssocID="{36563EE1-3303-2E4E-95E5-5B45720A99FB}" presName="vertSpace2a" presStyleCnt="0"/>
      <dgm:spPr/>
    </dgm:pt>
    <dgm:pt modelId="{1A37EF81-07A9-0E4F-BA99-61148055079D}" type="pres">
      <dgm:prSet presAssocID="{36563EE1-3303-2E4E-95E5-5B45720A99FB}" presName="horz2" presStyleCnt="0"/>
      <dgm:spPr/>
    </dgm:pt>
    <dgm:pt modelId="{1350D33D-D019-EB42-AB7C-F14B75A78F99}" type="pres">
      <dgm:prSet presAssocID="{36563EE1-3303-2E4E-95E5-5B45720A99FB}" presName="horzSpace2" presStyleCnt="0"/>
      <dgm:spPr/>
    </dgm:pt>
    <dgm:pt modelId="{D04910D0-4753-E746-9A73-C3145468D302}" type="pres">
      <dgm:prSet presAssocID="{36563EE1-3303-2E4E-95E5-5B45720A99FB}" presName="tx2" presStyleLbl="revTx" presStyleIdx="1" presStyleCnt="7"/>
      <dgm:spPr/>
    </dgm:pt>
    <dgm:pt modelId="{66F48B60-4082-814B-A13F-A2A07C5338E0}" type="pres">
      <dgm:prSet presAssocID="{36563EE1-3303-2E4E-95E5-5B45720A99FB}" presName="vert2" presStyleCnt="0"/>
      <dgm:spPr/>
    </dgm:pt>
    <dgm:pt modelId="{F16390C5-A9C3-DA4B-9196-20F3040E7D99}" type="pres">
      <dgm:prSet presAssocID="{36563EE1-3303-2E4E-95E5-5B45720A99FB}" presName="thinLine2b" presStyleLbl="callout" presStyleIdx="0" presStyleCnt="4"/>
      <dgm:spPr/>
    </dgm:pt>
    <dgm:pt modelId="{506DEBED-CC64-E443-95CC-C1902F68BA66}" type="pres">
      <dgm:prSet presAssocID="{36563EE1-3303-2E4E-95E5-5B45720A99FB}" presName="vertSpace2b" presStyleCnt="0"/>
      <dgm:spPr/>
    </dgm:pt>
    <dgm:pt modelId="{5746FEA6-EBC5-4F46-A55C-AADBB35EF4DA}" type="pres">
      <dgm:prSet presAssocID="{3FEE7A2B-4999-824E-AC94-EA149D3523D2}" presName="horz2" presStyleCnt="0"/>
      <dgm:spPr/>
    </dgm:pt>
    <dgm:pt modelId="{E35AC4F8-8E98-0B4F-87D8-219C30423B8E}" type="pres">
      <dgm:prSet presAssocID="{3FEE7A2B-4999-824E-AC94-EA149D3523D2}" presName="horzSpace2" presStyleCnt="0"/>
      <dgm:spPr/>
    </dgm:pt>
    <dgm:pt modelId="{65C6BC6D-5E16-8443-9FA3-F409673E1549}" type="pres">
      <dgm:prSet presAssocID="{3FEE7A2B-4999-824E-AC94-EA149D3523D2}" presName="tx2" presStyleLbl="revTx" presStyleIdx="2" presStyleCnt="7"/>
      <dgm:spPr/>
    </dgm:pt>
    <dgm:pt modelId="{DEA5D7D1-0288-7046-ADA2-0E8396BDE79C}" type="pres">
      <dgm:prSet presAssocID="{3FEE7A2B-4999-824E-AC94-EA149D3523D2}" presName="vert2" presStyleCnt="0"/>
      <dgm:spPr/>
    </dgm:pt>
    <dgm:pt modelId="{ED9FFEE9-9FA4-C646-B6A9-A1A2FDE40C61}" type="pres">
      <dgm:prSet presAssocID="{3FEE7A2B-4999-824E-AC94-EA149D3523D2}" presName="thinLine2b" presStyleLbl="callout" presStyleIdx="1" presStyleCnt="4"/>
      <dgm:spPr/>
    </dgm:pt>
    <dgm:pt modelId="{0A272C72-23FF-D24D-AC00-E6AA8E995A85}" type="pres">
      <dgm:prSet presAssocID="{3FEE7A2B-4999-824E-AC94-EA149D3523D2}" presName="vertSpace2b" presStyleCnt="0"/>
      <dgm:spPr/>
    </dgm:pt>
    <dgm:pt modelId="{3ACFC1B5-AEAA-EF43-A19C-40029D4AA732}" type="pres">
      <dgm:prSet presAssocID="{20E7D8AB-FCE6-BD41-A3F5-9F5CE1A8F549}" presName="thickLine" presStyleLbl="alignNode1" presStyleIdx="1" presStyleCnt="3"/>
      <dgm:spPr/>
    </dgm:pt>
    <dgm:pt modelId="{C1CAB65F-C42A-234E-A0AC-112AD37857FC}" type="pres">
      <dgm:prSet presAssocID="{20E7D8AB-FCE6-BD41-A3F5-9F5CE1A8F549}" presName="horz1" presStyleCnt="0"/>
      <dgm:spPr/>
    </dgm:pt>
    <dgm:pt modelId="{A708D4CB-3F1F-4D4F-BA8E-1EE129FF1ACB}" type="pres">
      <dgm:prSet presAssocID="{20E7D8AB-FCE6-BD41-A3F5-9F5CE1A8F549}" presName="tx1" presStyleLbl="revTx" presStyleIdx="3" presStyleCnt="7"/>
      <dgm:spPr/>
    </dgm:pt>
    <dgm:pt modelId="{F09A28A6-B11F-B04B-BAE2-B847C37F9DEA}" type="pres">
      <dgm:prSet presAssocID="{20E7D8AB-FCE6-BD41-A3F5-9F5CE1A8F549}" presName="vert1" presStyleCnt="0"/>
      <dgm:spPr/>
    </dgm:pt>
    <dgm:pt modelId="{8662C916-ECF5-9240-93EA-F40505795305}" type="pres">
      <dgm:prSet presAssocID="{2624F628-459C-2340-8E0C-40CE855A070F}" presName="vertSpace2a" presStyleCnt="0"/>
      <dgm:spPr/>
    </dgm:pt>
    <dgm:pt modelId="{D373F3E3-E997-4548-AD66-B371D9FDE3EA}" type="pres">
      <dgm:prSet presAssocID="{2624F628-459C-2340-8E0C-40CE855A070F}" presName="horz2" presStyleCnt="0"/>
      <dgm:spPr/>
    </dgm:pt>
    <dgm:pt modelId="{FFAAA85D-33EE-DE4F-A831-4084B639BE4D}" type="pres">
      <dgm:prSet presAssocID="{2624F628-459C-2340-8E0C-40CE855A070F}" presName="horzSpace2" presStyleCnt="0"/>
      <dgm:spPr/>
    </dgm:pt>
    <dgm:pt modelId="{5258F406-6DC1-E647-AD03-A16879E5F579}" type="pres">
      <dgm:prSet presAssocID="{2624F628-459C-2340-8E0C-40CE855A070F}" presName="tx2" presStyleLbl="revTx" presStyleIdx="4" presStyleCnt="7"/>
      <dgm:spPr/>
    </dgm:pt>
    <dgm:pt modelId="{E0DDF4B2-4C5E-5E45-854F-9639A7F584B3}" type="pres">
      <dgm:prSet presAssocID="{2624F628-459C-2340-8E0C-40CE855A070F}" presName="vert2" presStyleCnt="0"/>
      <dgm:spPr/>
    </dgm:pt>
    <dgm:pt modelId="{FF2E17C6-E3AE-CF44-B38B-4073A5A7248D}" type="pres">
      <dgm:prSet presAssocID="{2624F628-459C-2340-8E0C-40CE855A070F}" presName="thinLine2b" presStyleLbl="callout" presStyleIdx="2" presStyleCnt="4"/>
      <dgm:spPr/>
    </dgm:pt>
    <dgm:pt modelId="{533C1014-8A86-924A-A435-4CDDE567A59C}" type="pres">
      <dgm:prSet presAssocID="{2624F628-459C-2340-8E0C-40CE855A070F}" presName="vertSpace2b" presStyleCnt="0"/>
      <dgm:spPr/>
    </dgm:pt>
    <dgm:pt modelId="{598D3EF9-9948-1140-B996-B0AEACD2AE26}" type="pres">
      <dgm:prSet presAssocID="{383CDE07-7640-A74C-89AF-2DD3B995A0C5}" presName="thickLine" presStyleLbl="alignNode1" presStyleIdx="2" presStyleCnt="3"/>
      <dgm:spPr/>
    </dgm:pt>
    <dgm:pt modelId="{ADF7F8B5-18B5-554B-8063-921FF31CAFE6}" type="pres">
      <dgm:prSet presAssocID="{383CDE07-7640-A74C-89AF-2DD3B995A0C5}" presName="horz1" presStyleCnt="0"/>
      <dgm:spPr/>
    </dgm:pt>
    <dgm:pt modelId="{70770062-D2F3-E94B-9178-C5DCE8943717}" type="pres">
      <dgm:prSet presAssocID="{383CDE07-7640-A74C-89AF-2DD3B995A0C5}" presName="tx1" presStyleLbl="revTx" presStyleIdx="5" presStyleCnt="7"/>
      <dgm:spPr/>
    </dgm:pt>
    <dgm:pt modelId="{8E1D23EE-EFCF-1149-9F85-1EDD594D5FE9}" type="pres">
      <dgm:prSet presAssocID="{383CDE07-7640-A74C-89AF-2DD3B995A0C5}" presName="vert1" presStyleCnt="0"/>
      <dgm:spPr/>
    </dgm:pt>
    <dgm:pt modelId="{B2F9217B-0E07-8B48-80BC-9370EDB9F3A5}" type="pres">
      <dgm:prSet presAssocID="{5807EF87-798C-8C40-98B2-C8C2F88C2044}" presName="vertSpace2a" presStyleCnt="0"/>
      <dgm:spPr/>
    </dgm:pt>
    <dgm:pt modelId="{E1C14975-E853-F845-B9D0-E96557649259}" type="pres">
      <dgm:prSet presAssocID="{5807EF87-798C-8C40-98B2-C8C2F88C2044}" presName="horz2" presStyleCnt="0"/>
      <dgm:spPr/>
    </dgm:pt>
    <dgm:pt modelId="{4B9F51E7-4701-A540-84AF-9173980F05BC}" type="pres">
      <dgm:prSet presAssocID="{5807EF87-798C-8C40-98B2-C8C2F88C2044}" presName="horzSpace2" presStyleCnt="0"/>
      <dgm:spPr/>
    </dgm:pt>
    <dgm:pt modelId="{B1BF1470-D267-BA46-80DC-0AA62682D93C}" type="pres">
      <dgm:prSet presAssocID="{5807EF87-798C-8C40-98B2-C8C2F88C2044}" presName="tx2" presStyleLbl="revTx" presStyleIdx="6" presStyleCnt="7"/>
      <dgm:spPr/>
    </dgm:pt>
    <dgm:pt modelId="{CE9440CA-EE98-DA4F-9A97-21BAABE84405}" type="pres">
      <dgm:prSet presAssocID="{5807EF87-798C-8C40-98B2-C8C2F88C2044}" presName="vert2" presStyleCnt="0"/>
      <dgm:spPr/>
    </dgm:pt>
    <dgm:pt modelId="{259E3695-2D57-A14E-97A5-E301AE359063}" type="pres">
      <dgm:prSet presAssocID="{5807EF87-798C-8C40-98B2-C8C2F88C2044}" presName="thinLine2b" presStyleLbl="callout" presStyleIdx="3" presStyleCnt="4"/>
      <dgm:spPr/>
    </dgm:pt>
    <dgm:pt modelId="{05924C09-F4CE-7645-BF90-21AA8B02D394}" type="pres">
      <dgm:prSet presAssocID="{5807EF87-798C-8C40-98B2-C8C2F88C2044}" presName="vertSpace2b" presStyleCnt="0"/>
      <dgm:spPr/>
    </dgm:pt>
  </dgm:ptLst>
  <dgm:cxnLst>
    <dgm:cxn modelId="{5D08CE00-5FDE-574F-A1EC-691642D9361A}" srcId="{383CDE07-7640-A74C-89AF-2DD3B995A0C5}" destId="{5807EF87-798C-8C40-98B2-C8C2F88C2044}" srcOrd="0" destOrd="0" parTransId="{F9FBA5F4-115D-3E47-BF83-F18EA7C846B0}" sibTransId="{D4130848-39A8-884E-B11A-2E9C93E4A40D}"/>
    <dgm:cxn modelId="{C8BF1404-11AF-480F-8668-46368F1D8C9B}" srcId="{7BC2DB20-EFFD-4E7B-93C1-553BACDC4218}" destId="{5CB291CD-C87A-4E73-A31F-A5E8DC48EC04}" srcOrd="0" destOrd="0" parTransId="{E99F5492-A06F-4526-99D6-3D5D0DAAB8D2}" sibTransId="{EB8001B5-1F3F-4B4C-99B7-5E44380F79E6}"/>
    <dgm:cxn modelId="{88CCBB21-311D-AC4D-8F30-7934A0BA67B9}" type="presOf" srcId="{5CB291CD-C87A-4E73-A31F-A5E8DC48EC04}" destId="{8A244672-D23A-A045-B925-853BADFEE351}" srcOrd="0" destOrd="0" presId="urn:microsoft.com/office/officeart/2008/layout/LinedList"/>
    <dgm:cxn modelId="{744AD923-5AC2-FF44-BF5A-4DA3DAC38D6E}" srcId="{5CB291CD-C87A-4E73-A31F-A5E8DC48EC04}" destId="{36563EE1-3303-2E4E-95E5-5B45720A99FB}" srcOrd="0" destOrd="0" parTransId="{F10C2558-B2A1-F546-9407-638C3A041175}" sibTransId="{6D3563EE-58B2-384B-82D4-175E1085DD0E}"/>
    <dgm:cxn modelId="{5C314B52-BE74-034C-A0FC-5EE0793A06F4}" type="presOf" srcId="{383CDE07-7640-A74C-89AF-2DD3B995A0C5}" destId="{70770062-D2F3-E94B-9178-C5DCE8943717}" srcOrd="0" destOrd="0" presId="urn:microsoft.com/office/officeart/2008/layout/LinedList"/>
    <dgm:cxn modelId="{5C628252-F7FA-4D48-A42F-12BC2F40DD72}" type="presOf" srcId="{20E7D8AB-FCE6-BD41-A3F5-9F5CE1A8F549}" destId="{A708D4CB-3F1F-4D4F-BA8E-1EE129FF1ACB}" srcOrd="0" destOrd="0" presId="urn:microsoft.com/office/officeart/2008/layout/LinedList"/>
    <dgm:cxn modelId="{B1E6C37F-ADF1-0149-8455-F457FFA3FB19}" srcId="{20E7D8AB-FCE6-BD41-A3F5-9F5CE1A8F549}" destId="{2624F628-459C-2340-8E0C-40CE855A070F}" srcOrd="0" destOrd="0" parTransId="{AE73DBBE-CD9A-5D4B-B8E0-4E074202C2CC}" sibTransId="{8C1C67B6-0AEF-B748-970C-F062DBE88930}"/>
    <dgm:cxn modelId="{907E8093-425B-B145-A271-CF45E336178A}" type="presOf" srcId="{3FEE7A2B-4999-824E-AC94-EA149D3523D2}" destId="{65C6BC6D-5E16-8443-9FA3-F409673E1549}" srcOrd="0" destOrd="0" presId="urn:microsoft.com/office/officeart/2008/layout/LinedList"/>
    <dgm:cxn modelId="{6B42CBB7-EBEC-924A-9D0B-F5C33968B9E1}" srcId="{7BC2DB20-EFFD-4E7B-93C1-553BACDC4218}" destId="{383CDE07-7640-A74C-89AF-2DD3B995A0C5}" srcOrd="2" destOrd="0" parTransId="{F7F2182A-2CC9-AD4D-922F-03E589F2513F}" sibTransId="{2273EECA-ADE8-0D4C-B519-584CDF49C545}"/>
    <dgm:cxn modelId="{E4B289CD-EA5F-3946-A077-D51A740A3309}" type="presOf" srcId="{5807EF87-798C-8C40-98B2-C8C2F88C2044}" destId="{B1BF1470-D267-BA46-80DC-0AA62682D93C}" srcOrd="0" destOrd="0" presId="urn:microsoft.com/office/officeart/2008/layout/LinedList"/>
    <dgm:cxn modelId="{5FBD69E6-7C5C-624A-A58D-BD54AA7378AF}" type="presOf" srcId="{2624F628-459C-2340-8E0C-40CE855A070F}" destId="{5258F406-6DC1-E647-AD03-A16879E5F579}" srcOrd="0" destOrd="0" presId="urn:microsoft.com/office/officeart/2008/layout/LinedList"/>
    <dgm:cxn modelId="{B3E804E9-9FD9-2542-8E95-3BD18D95EA73}" srcId="{7BC2DB20-EFFD-4E7B-93C1-553BACDC4218}" destId="{20E7D8AB-FCE6-BD41-A3F5-9F5CE1A8F549}" srcOrd="1" destOrd="0" parTransId="{F86BE984-3DDD-9543-A75C-AFB105314FE5}" sibTransId="{3C299E17-75F9-DD48-8946-0DFE44336A93}"/>
    <dgm:cxn modelId="{7C555FF1-D90A-0349-8A6A-AB76C6AD2D87}" type="presOf" srcId="{7BC2DB20-EFFD-4E7B-93C1-553BACDC4218}" destId="{C5EE647A-EEA4-8E4D-897B-5D91313EC19B}" srcOrd="0" destOrd="0" presId="urn:microsoft.com/office/officeart/2008/layout/LinedList"/>
    <dgm:cxn modelId="{4ED7F6F2-F56F-4F45-880D-17BE41C0D22F}" srcId="{5CB291CD-C87A-4E73-A31F-A5E8DC48EC04}" destId="{3FEE7A2B-4999-824E-AC94-EA149D3523D2}" srcOrd="1" destOrd="0" parTransId="{1CCB9001-7A87-5C43-A98C-474EBA690731}" sibTransId="{8079771B-4889-7D49-9155-D43683E77E96}"/>
    <dgm:cxn modelId="{31878BF5-0CBF-CA4A-A3B6-A192BE18D730}" type="presOf" srcId="{36563EE1-3303-2E4E-95E5-5B45720A99FB}" destId="{D04910D0-4753-E746-9A73-C3145468D302}" srcOrd="0" destOrd="0" presId="urn:microsoft.com/office/officeart/2008/layout/LinedList"/>
    <dgm:cxn modelId="{FF1A9E8F-DFBC-724B-B8E6-7357A11BBDB2}" type="presParOf" srcId="{C5EE647A-EEA4-8E4D-897B-5D91313EC19B}" destId="{6E86387F-48E5-9840-B2B1-6BE9A0A4131A}" srcOrd="0" destOrd="0" presId="urn:microsoft.com/office/officeart/2008/layout/LinedList"/>
    <dgm:cxn modelId="{3A648C50-4183-164A-9CE0-4C22AD1F3707}" type="presParOf" srcId="{C5EE647A-EEA4-8E4D-897B-5D91313EC19B}" destId="{6606659B-EB42-BA47-A307-EC5C0F2D146C}" srcOrd="1" destOrd="0" presId="urn:microsoft.com/office/officeart/2008/layout/LinedList"/>
    <dgm:cxn modelId="{47E5F645-67AD-A846-BDB9-4E153B944120}" type="presParOf" srcId="{6606659B-EB42-BA47-A307-EC5C0F2D146C}" destId="{8A244672-D23A-A045-B925-853BADFEE351}" srcOrd="0" destOrd="0" presId="urn:microsoft.com/office/officeart/2008/layout/LinedList"/>
    <dgm:cxn modelId="{7F5B6E81-FA28-1741-9783-D32ED7B74571}" type="presParOf" srcId="{6606659B-EB42-BA47-A307-EC5C0F2D146C}" destId="{24988038-B6D9-6E47-A52B-7F1E6925A895}" srcOrd="1" destOrd="0" presId="urn:microsoft.com/office/officeart/2008/layout/LinedList"/>
    <dgm:cxn modelId="{1936ECC1-61E1-1E4D-BDFC-F477C1CE9F9C}" type="presParOf" srcId="{24988038-B6D9-6E47-A52B-7F1E6925A895}" destId="{79812834-A352-E144-9DDF-1B4F85C99CF8}" srcOrd="0" destOrd="0" presId="urn:microsoft.com/office/officeart/2008/layout/LinedList"/>
    <dgm:cxn modelId="{F786470F-4CF0-FA42-A86C-858B649D9AC1}" type="presParOf" srcId="{24988038-B6D9-6E47-A52B-7F1E6925A895}" destId="{1A37EF81-07A9-0E4F-BA99-61148055079D}" srcOrd="1" destOrd="0" presId="urn:microsoft.com/office/officeart/2008/layout/LinedList"/>
    <dgm:cxn modelId="{B2115152-3B52-8E46-87A4-AA20E5097347}" type="presParOf" srcId="{1A37EF81-07A9-0E4F-BA99-61148055079D}" destId="{1350D33D-D019-EB42-AB7C-F14B75A78F99}" srcOrd="0" destOrd="0" presId="urn:microsoft.com/office/officeart/2008/layout/LinedList"/>
    <dgm:cxn modelId="{F783C73C-E53C-3242-AB3E-EB48BC39B463}" type="presParOf" srcId="{1A37EF81-07A9-0E4F-BA99-61148055079D}" destId="{D04910D0-4753-E746-9A73-C3145468D302}" srcOrd="1" destOrd="0" presId="urn:microsoft.com/office/officeart/2008/layout/LinedList"/>
    <dgm:cxn modelId="{6246DEBF-9170-BF41-9D51-3276B0F8B553}" type="presParOf" srcId="{1A37EF81-07A9-0E4F-BA99-61148055079D}" destId="{66F48B60-4082-814B-A13F-A2A07C5338E0}" srcOrd="2" destOrd="0" presId="urn:microsoft.com/office/officeart/2008/layout/LinedList"/>
    <dgm:cxn modelId="{FAA26AD6-55AC-9049-893A-0E919227046A}" type="presParOf" srcId="{24988038-B6D9-6E47-A52B-7F1E6925A895}" destId="{F16390C5-A9C3-DA4B-9196-20F3040E7D99}" srcOrd="2" destOrd="0" presId="urn:microsoft.com/office/officeart/2008/layout/LinedList"/>
    <dgm:cxn modelId="{4A86BA08-7C6B-2A4C-B17D-7B593F7E86BA}" type="presParOf" srcId="{24988038-B6D9-6E47-A52B-7F1E6925A895}" destId="{506DEBED-CC64-E443-95CC-C1902F68BA66}" srcOrd="3" destOrd="0" presId="urn:microsoft.com/office/officeart/2008/layout/LinedList"/>
    <dgm:cxn modelId="{95D724F5-19A3-994B-AF37-428BD34021E2}" type="presParOf" srcId="{24988038-B6D9-6E47-A52B-7F1E6925A895}" destId="{5746FEA6-EBC5-4F46-A55C-AADBB35EF4DA}" srcOrd="4" destOrd="0" presId="urn:microsoft.com/office/officeart/2008/layout/LinedList"/>
    <dgm:cxn modelId="{254B1A89-D029-674A-9733-7BB4ECE02473}" type="presParOf" srcId="{5746FEA6-EBC5-4F46-A55C-AADBB35EF4DA}" destId="{E35AC4F8-8E98-0B4F-87D8-219C30423B8E}" srcOrd="0" destOrd="0" presId="urn:microsoft.com/office/officeart/2008/layout/LinedList"/>
    <dgm:cxn modelId="{BCF9A3F6-D576-CD46-A706-1FCDB56B17B3}" type="presParOf" srcId="{5746FEA6-EBC5-4F46-A55C-AADBB35EF4DA}" destId="{65C6BC6D-5E16-8443-9FA3-F409673E1549}" srcOrd="1" destOrd="0" presId="urn:microsoft.com/office/officeart/2008/layout/LinedList"/>
    <dgm:cxn modelId="{4E72C80F-BD2B-9A4A-AF07-F7399676E985}" type="presParOf" srcId="{5746FEA6-EBC5-4F46-A55C-AADBB35EF4DA}" destId="{DEA5D7D1-0288-7046-ADA2-0E8396BDE79C}" srcOrd="2" destOrd="0" presId="urn:microsoft.com/office/officeart/2008/layout/LinedList"/>
    <dgm:cxn modelId="{8F8499D0-6927-8142-BD17-D06F127CA853}" type="presParOf" srcId="{24988038-B6D9-6E47-A52B-7F1E6925A895}" destId="{ED9FFEE9-9FA4-C646-B6A9-A1A2FDE40C61}" srcOrd="5" destOrd="0" presId="urn:microsoft.com/office/officeart/2008/layout/LinedList"/>
    <dgm:cxn modelId="{82C6A340-4E8C-B642-8407-ED3D3A4F7392}" type="presParOf" srcId="{24988038-B6D9-6E47-A52B-7F1E6925A895}" destId="{0A272C72-23FF-D24D-AC00-E6AA8E995A85}" srcOrd="6" destOrd="0" presId="urn:microsoft.com/office/officeart/2008/layout/LinedList"/>
    <dgm:cxn modelId="{A66C0C83-865C-C649-AA77-F477A6230EF0}" type="presParOf" srcId="{C5EE647A-EEA4-8E4D-897B-5D91313EC19B}" destId="{3ACFC1B5-AEAA-EF43-A19C-40029D4AA732}" srcOrd="2" destOrd="0" presId="urn:microsoft.com/office/officeart/2008/layout/LinedList"/>
    <dgm:cxn modelId="{FF64C1D2-390B-5849-A17B-E692BFDD2AD4}" type="presParOf" srcId="{C5EE647A-EEA4-8E4D-897B-5D91313EC19B}" destId="{C1CAB65F-C42A-234E-A0AC-112AD37857FC}" srcOrd="3" destOrd="0" presId="urn:microsoft.com/office/officeart/2008/layout/LinedList"/>
    <dgm:cxn modelId="{7A433DC4-B3E4-F946-BFBC-414D18A9BEB5}" type="presParOf" srcId="{C1CAB65F-C42A-234E-A0AC-112AD37857FC}" destId="{A708D4CB-3F1F-4D4F-BA8E-1EE129FF1ACB}" srcOrd="0" destOrd="0" presId="urn:microsoft.com/office/officeart/2008/layout/LinedList"/>
    <dgm:cxn modelId="{CE256E9A-A53A-834B-8409-0B8DD3F88727}" type="presParOf" srcId="{C1CAB65F-C42A-234E-A0AC-112AD37857FC}" destId="{F09A28A6-B11F-B04B-BAE2-B847C37F9DEA}" srcOrd="1" destOrd="0" presId="urn:microsoft.com/office/officeart/2008/layout/LinedList"/>
    <dgm:cxn modelId="{356BBCFE-6E8C-C74D-B351-85A4DF46BD8E}" type="presParOf" srcId="{F09A28A6-B11F-B04B-BAE2-B847C37F9DEA}" destId="{8662C916-ECF5-9240-93EA-F40505795305}" srcOrd="0" destOrd="0" presId="urn:microsoft.com/office/officeart/2008/layout/LinedList"/>
    <dgm:cxn modelId="{BE5E2E53-C39D-2847-957B-1100EC5BA8A5}" type="presParOf" srcId="{F09A28A6-B11F-B04B-BAE2-B847C37F9DEA}" destId="{D373F3E3-E997-4548-AD66-B371D9FDE3EA}" srcOrd="1" destOrd="0" presId="urn:microsoft.com/office/officeart/2008/layout/LinedList"/>
    <dgm:cxn modelId="{DAC2868D-6A8D-3742-A154-468AB919BB4F}" type="presParOf" srcId="{D373F3E3-E997-4548-AD66-B371D9FDE3EA}" destId="{FFAAA85D-33EE-DE4F-A831-4084B639BE4D}" srcOrd="0" destOrd="0" presId="urn:microsoft.com/office/officeart/2008/layout/LinedList"/>
    <dgm:cxn modelId="{B8E73264-981C-804C-B255-8E424C6F70CC}" type="presParOf" srcId="{D373F3E3-E997-4548-AD66-B371D9FDE3EA}" destId="{5258F406-6DC1-E647-AD03-A16879E5F579}" srcOrd="1" destOrd="0" presId="urn:microsoft.com/office/officeart/2008/layout/LinedList"/>
    <dgm:cxn modelId="{945FF68E-A667-E34C-8416-409CE023B501}" type="presParOf" srcId="{D373F3E3-E997-4548-AD66-B371D9FDE3EA}" destId="{E0DDF4B2-4C5E-5E45-854F-9639A7F584B3}" srcOrd="2" destOrd="0" presId="urn:microsoft.com/office/officeart/2008/layout/LinedList"/>
    <dgm:cxn modelId="{6A54A755-93C7-3C40-AF1F-F954D90A1618}" type="presParOf" srcId="{F09A28A6-B11F-B04B-BAE2-B847C37F9DEA}" destId="{FF2E17C6-E3AE-CF44-B38B-4073A5A7248D}" srcOrd="2" destOrd="0" presId="urn:microsoft.com/office/officeart/2008/layout/LinedList"/>
    <dgm:cxn modelId="{1EB77621-EAAF-BC4D-8A68-35CE542F92D9}" type="presParOf" srcId="{F09A28A6-B11F-B04B-BAE2-B847C37F9DEA}" destId="{533C1014-8A86-924A-A435-4CDDE567A59C}" srcOrd="3" destOrd="0" presId="urn:microsoft.com/office/officeart/2008/layout/LinedList"/>
    <dgm:cxn modelId="{B666DF57-5B0A-C141-9D34-7F49A530098D}" type="presParOf" srcId="{C5EE647A-EEA4-8E4D-897B-5D91313EC19B}" destId="{598D3EF9-9948-1140-B996-B0AEACD2AE26}" srcOrd="4" destOrd="0" presId="urn:microsoft.com/office/officeart/2008/layout/LinedList"/>
    <dgm:cxn modelId="{9AA8D3C7-3F87-5E46-99FD-6F67159CA2CD}" type="presParOf" srcId="{C5EE647A-EEA4-8E4D-897B-5D91313EC19B}" destId="{ADF7F8B5-18B5-554B-8063-921FF31CAFE6}" srcOrd="5" destOrd="0" presId="urn:microsoft.com/office/officeart/2008/layout/LinedList"/>
    <dgm:cxn modelId="{D9FCBB6F-6C85-BE48-906E-9678E2D5DC11}" type="presParOf" srcId="{ADF7F8B5-18B5-554B-8063-921FF31CAFE6}" destId="{70770062-D2F3-E94B-9178-C5DCE8943717}" srcOrd="0" destOrd="0" presId="urn:microsoft.com/office/officeart/2008/layout/LinedList"/>
    <dgm:cxn modelId="{5C26DF58-A37A-6947-AC25-8B11F3841CB6}" type="presParOf" srcId="{ADF7F8B5-18B5-554B-8063-921FF31CAFE6}" destId="{8E1D23EE-EFCF-1149-9F85-1EDD594D5FE9}" srcOrd="1" destOrd="0" presId="urn:microsoft.com/office/officeart/2008/layout/LinedList"/>
    <dgm:cxn modelId="{7D0D7DF1-F541-5844-8DD5-2751CE5DA612}" type="presParOf" srcId="{8E1D23EE-EFCF-1149-9F85-1EDD594D5FE9}" destId="{B2F9217B-0E07-8B48-80BC-9370EDB9F3A5}" srcOrd="0" destOrd="0" presId="urn:microsoft.com/office/officeart/2008/layout/LinedList"/>
    <dgm:cxn modelId="{3BDD73AA-F33D-3146-AB7D-B559FDF179D1}" type="presParOf" srcId="{8E1D23EE-EFCF-1149-9F85-1EDD594D5FE9}" destId="{E1C14975-E853-F845-B9D0-E96557649259}" srcOrd="1" destOrd="0" presId="urn:microsoft.com/office/officeart/2008/layout/LinedList"/>
    <dgm:cxn modelId="{9F4414D7-94C7-3146-BECB-1740541C8463}" type="presParOf" srcId="{E1C14975-E853-F845-B9D0-E96557649259}" destId="{4B9F51E7-4701-A540-84AF-9173980F05BC}" srcOrd="0" destOrd="0" presId="urn:microsoft.com/office/officeart/2008/layout/LinedList"/>
    <dgm:cxn modelId="{A1A2B74F-7373-EB45-9A5D-81EC6B0D891C}" type="presParOf" srcId="{E1C14975-E853-F845-B9D0-E96557649259}" destId="{B1BF1470-D267-BA46-80DC-0AA62682D93C}" srcOrd="1" destOrd="0" presId="urn:microsoft.com/office/officeart/2008/layout/LinedList"/>
    <dgm:cxn modelId="{ABE8B00A-1AEB-B942-8519-A1CD0C98552B}" type="presParOf" srcId="{E1C14975-E853-F845-B9D0-E96557649259}" destId="{CE9440CA-EE98-DA4F-9A97-21BAABE84405}" srcOrd="2" destOrd="0" presId="urn:microsoft.com/office/officeart/2008/layout/LinedList"/>
    <dgm:cxn modelId="{FF9FAD50-B519-B948-BA2B-3BD34E740BAD}" type="presParOf" srcId="{8E1D23EE-EFCF-1149-9F85-1EDD594D5FE9}" destId="{259E3695-2D57-A14E-97A5-E301AE359063}" srcOrd="2" destOrd="0" presId="urn:microsoft.com/office/officeart/2008/layout/LinedList"/>
    <dgm:cxn modelId="{B0C312BD-75A9-FD47-8562-AA8A669FF424}" type="presParOf" srcId="{8E1D23EE-EFCF-1149-9F85-1EDD594D5FE9}" destId="{05924C09-F4CE-7645-BF90-21AA8B02D394}" srcOrd="3"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02BA0D8E-884F-D545-BFF7-95207C181DAB}" type="doc">
      <dgm:prSet loTypeId="urn:microsoft.com/office/officeart/2008/layout/LinedList" loCatId=""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a:t>Manual override</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C8A9BCB3-602F-FC4A-9626-FAF506510228}">
      <dgm:prSet/>
      <dgm:spPr/>
      <dgm:t>
        <a:bodyPr/>
        <a:lstStyle/>
        <a:p>
          <a:pPr rtl="0"/>
          <a:r>
            <a:rPr lang="en-CA"/>
            <a:t>Drag &amp; drop</a:t>
          </a:r>
        </a:p>
      </dgm:t>
    </dgm:pt>
    <dgm:pt modelId="{0B803AD3-6C2C-FE47-9803-37C40BE4582E}" type="parTrans" cxnId="{56EF0DD2-1AD6-AC4D-8684-479C4202D190}">
      <dgm:prSet/>
      <dgm:spPr/>
      <dgm:t>
        <a:bodyPr/>
        <a:lstStyle/>
        <a:p>
          <a:endParaRPr lang="en-CA"/>
        </a:p>
      </dgm:t>
    </dgm:pt>
    <dgm:pt modelId="{8C959BF5-5ADE-2F4A-B433-E7E671FD26BE}" type="sibTrans" cxnId="{56EF0DD2-1AD6-AC4D-8684-479C4202D190}">
      <dgm:prSet/>
      <dgm:spPr/>
      <dgm:t>
        <a:bodyPr/>
        <a:lstStyle/>
        <a:p>
          <a:endParaRPr lang="en-CA"/>
        </a:p>
      </dgm:t>
    </dgm:pt>
    <dgm:pt modelId="{963218B0-03E7-B248-BDE4-426021B288BE}">
      <dgm:prSet/>
      <dgm:spPr/>
      <dgm:t>
        <a:bodyPr/>
        <a:lstStyle/>
        <a:p>
          <a:pPr rtl="0"/>
          <a:r>
            <a:rPr lang="en-CA" dirty="0"/>
            <a:t>Validate SIN</a:t>
          </a:r>
        </a:p>
      </dgm:t>
    </dgm:pt>
    <dgm:pt modelId="{7474B829-CB2E-394E-8C4B-780B9C0B7223}" type="parTrans" cxnId="{712BC364-7900-994F-AAE7-E8F459A67C59}">
      <dgm:prSet/>
      <dgm:spPr/>
      <dgm:t>
        <a:bodyPr/>
        <a:lstStyle/>
        <a:p>
          <a:endParaRPr lang="en-CA"/>
        </a:p>
      </dgm:t>
    </dgm:pt>
    <dgm:pt modelId="{37A20B40-C6B8-2244-B6A7-3690479ACC26}" type="sibTrans" cxnId="{712BC364-7900-994F-AAE7-E8F459A67C59}">
      <dgm:prSet/>
      <dgm:spPr/>
      <dgm:t>
        <a:bodyPr/>
        <a:lstStyle/>
        <a:p>
          <a:endParaRPr lang="en-CA"/>
        </a:p>
      </dgm:t>
    </dgm:pt>
    <dgm:pt modelId="{021B76B3-F862-EB4D-99AE-2E3CF6A53E7C}">
      <dgm:prSet/>
      <dgm:spPr/>
      <dgm:t>
        <a:bodyPr/>
        <a:lstStyle/>
        <a:p>
          <a:pPr rtl="0"/>
          <a:r>
            <a:rPr lang="en-CA"/>
            <a:t>Jump to a related field</a:t>
          </a:r>
        </a:p>
      </dgm:t>
    </dgm:pt>
    <dgm:pt modelId="{6E5F3CA5-845B-564A-A385-1520DFA2F0DB}" type="parTrans" cxnId="{3B767F4E-AAE8-D04E-A7E2-D8018AE75D53}">
      <dgm:prSet/>
      <dgm:spPr/>
      <dgm:t>
        <a:bodyPr/>
        <a:lstStyle/>
        <a:p>
          <a:endParaRPr lang="en-CA"/>
        </a:p>
      </dgm:t>
    </dgm:pt>
    <dgm:pt modelId="{D9536534-8B17-EE44-9B95-74BAE13D0CE3}" type="sibTrans" cxnId="{3B767F4E-AAE8-D04E-A7E2-D8018AE75D53}">
      <dgm:prSet/>
      <dgm:spPr/>
      <dgm:t>
        <a:bodyPr/>
        <a:lstStyle/>
        <a:p>
          <a:endParaRPr lang="en-CA"/>
        </a:p>
      </dgm:t>
    </dgm:pt>
    <dgm:pt modelId="{19046CE4-597F-CD4A-AB52-A3C5E2A15403}">
      <dgm:prSet/>
      <dgm:spPr/>
      <dgm:t>
        <a:bodyPr/>
        <a:lstStyle/>
        <a:p>
          <a:pPr rtl="0"/>
          <a:r>
            <a:rPr lang="en-CA"/>
            <a:t>Right-click</a:t>
          </a:r>
        </a:p>
      </dgm:t>
    </dgm:pt>
    <dgm:pt modelId="{3A450626-6637-D743-866A-CB3454228EF0}" type="parTrans" cxnId="{FAEE8D02-F38C-8843-9CE0-F19561AF8DEE}">
      <dgm:prSet/>
      <dgm:spPr/>
      <dgm:t>
        <a:bodyPr/>
        <a:lstStyle/>
        <a:p>
          <a:endParaRPr lang="en-CA"/>
        </a:p>
      </dgm:t>
    </dgm:pt>
    <dgm:pt modelId="{15A41638-BF56-8C42-B4D5-62E753CF1AFC}" type="sibTrans" cxnId="{FAEE8D02-F38C-8843-9CE0-F19561AF8DEE}">
      <dgm:prSet/>
      <dgm:spPr/>
      <dgm:t>
        <a:bodyPr/>
        <a:lstStyle/>
        <a:p>
          <a:endParaRPr lang="en-CA"/>
        </a:p>
      </dgm:t>
    </dgm:pt>
    <dgm:pt modelId="{3CB6F0BF-076D-9F48-9A46-60028B6FE005}">
      <dgm:prSet/>
      <dgm:spPr/>
      <dgm:t>
        <a:bodyPr/>
        <a:lstStyle/>
        <a:p>
          <a:pPr rtl="0"/>
          <a:r>
            <a:rPr lang="en-CA" dirty="0"/>
            <a:t>Smart Capitalization</a:t>
          </a:r>
        </a:p>
      </dgm:t>
    </dgm:pt>
    <dgm:pt modelId="{63DF646F-8161-E746-81DE-E736BB880F3B}" type="parTrans" cxnId="{C5848D0B-5FD4-F24C-8859-2A2FE4A00863}">
      <dgm:prSet/>
      <dgm:spPr/>
      <dgm:t>
        <a:bodyPr/>
        <a:lstStyle/>
        <a:p>
          <a:endParaRPr lang="en-CA"/>
        </a:p>
      </dgm:t>
    </dgm:pt>
    <dgm:pt modelId="{02B95B21-F90C-F54E-8161-72E219C98A93}" type="sibTrans" cxnId="{C5848D0B-5FD4-F24C-8859-2A2FE4A00863}">
      <dgm:prSet/>
      <dgm:spPr/>
      <dgm:t>
        <a:bodyPr/>
        <a:lstStyle/>
        <a:p>
          <a:endParaRPr lang="en-CA"/>
        </a:p>
      </dgm:t>
    </dgm:pt>
    <dgm:pt modelId="{A65AD4D5-8909-5946-8F88-687562140498}" type="pres">
      <dgm:prSet presAssocID="{02BA0D8E-884F-D545-BFF7-95207C181DAB}" presName="vert0" presStyleCnt="0">
        <dgm:presLayoutVars>
          <dgm:dir/>
          <dgm:animOne val="branch"/>
          <dgm:animLvl val="lvl"/>
        </dgm:presLayoutVars>
      </dgm:prSet>
      <dgm:spPr/>
    </dgm:pt>
    <dgm:pt modelId="{A5977A9C-DD0E-BF46-AC95-06AA4017AD78}" type="pres">
      <dgm:prSet presAssocID="{CF0461F7-EC97-BB41-A574-9C1E3009EACC}" presName="thickLine" presStyleLbl="alignNode1" presStyleIdx="0" presStyleCnt="6"/>
      <dgm:spPr/>
    </dgm:pt>
    <dgm:pt modelId="{E8740E8E-67CD-4D48-AED9-0DB9BF7841E7}" type="pres">
      <dgm:prSet presAssocID="{CF0461F7-EC97-BB41-A574-9C1E3009EACC}" presName="horz1" presStyleCnt="0"/>
      <dgm:spPr/>
    </dgm:pt>
    <dgm:pt modelId="{555C89DA-E1DB-3B4A-ABC8-2978609C5C02}" type="pres">
      <dgm:prSet presAssocID="{CF0461F7-EC97-BB41-A574-9C1E3009EACC}" presName="tx1" presStyleLbl="revTx" presStyleIdx="0" presStyleCnt="6"/>
      <dgm:spPr/>
    </dgm:pt>
    <dgm:pt modelId="{71CD581F-3F50-6148-A5D8-CDB437C301B8}" type="pres">
      <dgm:prSet presAssocID="{CF0461F7-EC97-BB41-A574-9C1E3009EACC}" presName="vert1" presStyleCnt="0"/>
      <dgm:spPr/>
    </dgm:pt>
    <dgm:pt modelId="{71CF7893-AB16-4E4C-9D26-AF5613152A90}" type="pres">
      <dgm:prSet presAssocID="{C8A9BCB3-602F-FC4A-9626-FAF506510228}" presName="thickLine" presStyleLbl="alignNode1" presStyleIdx="1" presStyleCnt="6"/>
      <dgm:spPr/>
    </dgm:pt>
    <dgm:pt modelId="{107FB082-08DF-3046-9D8B-610A799803D9}" type="pres">
      <dgm:prSet presAssocID="{C8A9BCB3-602F-FC4A-9626-FAF506510228}" presName="horz1" presStyleCnt="0"/>
      <dgm:spPr/>
    </dgm:pt>
    <dgm:pt modelId="{43BF4133-DCAF-BA49-86ED-DD8C584053C1}" type="pres">
      <dgm:prSet presAssocID="{C8A9BCB3-602F-FC4A-9626-FAF506510228}" presName="tx1" presStyleLbl="revTx" presStyleIdx="1" presStyleCnt="6"/>
      <dgm:spPr/>
    </dgm:pt>
    <dgm:pt modelId="{393661B9-1814-0F4F-B9A3-C2326B742B0C}" type="pres">
      <dgm:prSet presAssocID="{C8A9BCB3-602F-FC4A-9626-FAF506510228}" presName="vert1" presStyleCnt="0"/>
      <dgm:spPr/>
    </dgm:pt>
    <dgm:pt modelId="{B28E389D-769D-1E45-8C61-E83FA428CAC0}" type="pres">
      <dgm:prSet presAssocID="{963218B0-03E7-B248-BDE4-426021B288BE}" presName="thickLine" presStyleLbl="alignNode1" presStyleIdx="2" presStyleCnt="6"/>
      <dgm:spPr/>
    </dgm:pt>
    <dgm:pt modelId="{FF7D1BA7-6D33-4248-8907-734C131E1F5F}" type="pres">
      <dgm:prSet presAssocID="{963218B0-03E7-B248-BDE4-426021B288BE}" presName="horz1" presStyleCnt="0"/>
      <dgm:spPr/>
    </dgm:pt>
    <dgm:pt modelId="{7072E178-7BBA-4E43-B0D7-9DC825B7D5C6}" type="pres">
      <dgm:prSet presAssocID="{963218B0-03E7-B248-BDE4-426021B288BE}" presName="tx1" presStyleLbl="revTx" presStyleIdx="2" presStyleCnt="6"/>
      <dgm:spPr/>
    </dgm:pt>
    <dgm:pt modelId="{E40E5656-A92E-C147-A434-D0E26C997EC2}" type="pres">
      <dgm:prSet presAssocID="{963218B0-03E7-B248-BDE4-426021B288BE}" presName="vert1" presStyleCnt="0"/>
      <dgm:spPr/>
    </dgm:pt>
    <dgm:pt modelId="{292AE175-0EE8-F140-81D4-A5D203356AE0}" type="pres">
      <dgm:prSet presAssocID="{3CB6F0BF-076D-9F48-9A46-60028B6FE005}" presName="thickLine" presStyleLbl="alignNode1" presStyleIdx="3" presStyleCnt="6"/>
      <dgm:spPr/>
    </dgm:pt>
    <dgm:pt modelId="{A12BDAFC-CF70-074C-A3EA-F4ED7B265377}" type="pres">
      <dgm:prSet presAssocID="{3CB6F0BF-076D-9F48-9A46-60028B6FE005}" presName="horz1" presStyleCnt="0"/>
      <dgm:spPr/>
    </dgm:pt>
    <dgm:pt modelId="{D6599D63-F0E0-2A43-ACE3-0BB351204239}" type="pres">
      <dgm:prSet presAssocID="{3CB6F0BF-076D-9F48-9A46-60028B6FE005}" presName="tx1" presStyleLbl="revTx" presStyleIdx="3" presStyleCnt="6"/>
      <dgm:spPr/>
    </dgm:pt>
    <dgm:pt modelId="{B7AF81E0-F7B6-D347-BC7D-6BBFBD1D1C3A}" type="pres">
      <dgm:prSet presAssocID="{3CB6F0BF-076D-9F48-9A46-60028B6FE005}" presName="vert1" presStyleCnt="0"/>
      <dgm:spPr/>
    </dgm:pt>
    <dgm:pt modelId="{C223B15D-EA86-7B45-BBF3-636F2E98BA3F}" type="pres">
      <dgm:prSet presAssocID="{021B76B3-F862-EB4D-99AE-2E3CF6A53E7C}" presName="thickLine" presStyleLbl="alignNode1" presStyleIdx="4" presStyleCnt="6"/>
      <dgm:spPr/>
    </dgm:pt>
    <dgm:pt modelId="{3036CB73-5A4D-E34E-A80D-19178FE0E819}" type="pres">
      <dgm:prSet presAssocID="{021B76B3-F862-EB4D-99AE-2E3CF6A53E7C}" presName="horz1" presStyleCnt="0"/>
      <dgm:spPr/>
    </dgm:pt>
    <dgm:pt modelId="{8E6C79DB-67C6-1644-AD87-4F2EE3124A06}" type="pres">
      <dgm:prSet presAssocID="{021B76B3-F862-EB4D-99AE-2E3CF6A53E7C}" presName="tx1" presStyleLbl="revTx" presStyleIdx="4" presStyleCnt="6"/>
      <dgm:spPr/>
    </dgm:pt>
    <dgm:pt modelId="{4FF82FD0-95CB-5648-BDB0-E77FADDC8A88}" type="pres">
      <dgm:prSet presAssocID="{021B76B3-F862-EB4D-99AE-2E3CF6A53E7C}" presName="vert1" presStyleCnt="0"/>
      <dgm:spPr/>
    </dgm:pt>
    <dgm:pt modelId="{9FEFED8F-1FEC-DB4B-B3ED-F9A35A734DC3}" type="pres">
      <dgm:prSet presAssocID="{19046CE4-597F-CD4A-AB52-A3C5E2A15403}" presName="thickLine" presStyleLbl="alignNode1" presStyleIdx="5" presStyleCnt="6"/>
      <dgm:spPr/>
    </dgm:pt>
    <dgm:pt modelId="{D4C60F5D-4543-D04E-B0DD-5F03E1C9B9F8}" type="pres">
      <dgm:prSet presAssocID="{19046CE4-597F-CD4A-AB52-A3C5E2A15403}" presName="horz1" presStyleCnt="0"/>
      <dgm:spPr/>
    </dgm:pt>
    <dgm:pt modelId="{E2AFD1CF-26F4-6242-8627-DF02DD28EED5}" type="pres">
      <dgm:prSet presAssocID="{19046CE4-597F-CD4A-AB52-A3C5E2A15403}" presName="tx1" presStyleLbl="revTx" presStyleIdx="5" presStyleCnt="6"/>
      <dgm:spPr/>
    </dgm:pt>
    <dgm:pt modelId="{B004A1F5-E9F6-064F-AE77-A399E64D9405}" type="pres">
      <dgm:prSet presAssocID="{19046CE4-597F-CD4A-AB52-A3C5E2A15403}" presName="vert1" presStyleCnt="0"/>
      <dgm:spPr/>
    </dgm:pt>
  </dgm:ptLst>
  <dgm:cxnLst>
    <dgm:cxn modelId="{FAEE8D02-F38C-8843-9CE0-F19561AF8DEE}" srcId="{02BA0D8E-884F-D545-BFF7-95207C181DAB}" destId="{19046CE4-597F-CD4A-AB52-A3C5E2A15403}" srcOrd="5" destOrd="0" parTransId="{3A450626-6637-D743-866A-CB3454228EF0}" sibTransId="{15A41638-BF56-8C42-B4D5-62E753CF1AFC}"/>
    <dgm:cxn modelId="{C5848D0B-5FD4-F24C-8859-2A2FE4A00863}" srcId="{02BA0D8E-884F-D545-BFF7-95207C181DAB}" destId="{3CB6F0BF-076D-9F48-9A46-60028B6FE005}" srcOrd="3" destOrd="0" parTransId="{63DF646F-8161-E746-81DE-E736BB880F3B}" sibTransId="{02B95B21-F90C-F54E-8161-72E219C98A93}"/>
    <dgm:cxn modelId="{3B767F4E-AAE8-D04E-A7E2-D8018AE75D53}" srcId="{02BA0D8E-884F-D545-BFF7-95207C181DAB}" destId="{021B76B3-F862-EB4D-99AE-2E3CF6A53E7C}" srcOrd="4" destOrd="0" parTransId="{6E5F3CA5-845B-564A-A385-1520DFA2F0DB}" sibTransId="{D9536534-8B17-EE44-9B95-74BAE13D0CE3}"/>
    <dgm:cxn modelId="{712BC364-7900-994F-AAE7-E8F459A67C59}" srcId="{02BA0D8E-884F-D545-BFF7-95207C181DAB}" destId="{963218B0-03E7-B248-BDE4-426021B288BE}" srcOrd="2" destOrd="0" parTransId="{7474B829-CB2E-394E-8C4B-780B9C0B7223}" sibTransId="{37A20B40-C6B8-2244-B6A7-3690479ACC26}"/>
    <dgm:cxn modelId="{674D6C8A-30E6-564D-9142-120BB4D947A9}" srcId="{02BA0D8E-884F-D545-BFF7-95207C181DAB}" destId="{CF0461F7-EC97-BB41-A574-9C1E3009EACC}" srcOrd="0" destOrd="0" parTransId="{B2C709E6-0566-4D4E-97EA-2EBE699D701F}" sibTransId="{ABC1C475-5434-1B41-BC48-ADC728C8CBF7}"/>
    <dgm:cxn modelId="{DC6D709A-5910-2745-898E-3F9C9D0AEC3F}" type="presOf" srcId="{021B76B3-F862-EB4D-99AE-2E3CF6A53E7C}" destId="{8E6C79DB-67C6-1644-AD87-4F2EE3124A06}" srcOrd="0" destOrd="0" presId="urn:microsoft.com/office/officeart/2008/layout/LinedList"/>
    <dgm:cxn modelId="{754BD8BA-18E6-2D44-9B55-DD5F461F9510}" type="presOf" srcId="{19046CE4-597F-CD4A-AB52-A3C5E2A15403}" destId="{E2AFD1CF-26F4-6242-8627-DF02DD28EED5}" srcOrd="0" destOrd="0" presId="urn:microsoft.com/office/officeart/2008/layout/LinedList"/>
    <dgm:cxn modelId="{E4A439BB-AE80-CD49-8E79-A1BBE6FE46F8}" type="presOf" srcId="{C8A9BCB3-602F-FC4A-9626-FAF506510228}" destId="{43BF4133-DCAF-BA49-86ED-DD8C584053C1}" srcOrd="0" destOrd="0" presId="urn:microsoft.com/office/officeart/2008/layout/LinedList"/>
    <dgm:cxn modelId="{54A53FC0-0EA8-9041-B4A6-005298643CD4}" type="presOf" srcId="{3CB6F0BF-076D-9F48-9A46-60028B6FE005}" destId="{D6599D63-F0E0-2A43-ACE3-0BB351204239}" srcOrd="0" destOrd="0" presId="urn:microsoft.com/office/officeart/2008/layout/LinedList"/>
    <dgm:cxn modelId="{36F62AC3-BA66-DF47-9EC9-30C84C0B3EF3}" type="presOf" srcId="{963218B0-03E7-B248-BDE4-426021B288BE}" destId="{7072E178-7BBA-4E43-B0D7-9DC825B7D5C6}" srcOrd="0" destOrd="0" presId="urn:microsoft.com/office/officeart/2008/layout/LinedList"/>
    <dgm:cxn modelId="{5C8193D1-1EBD-5346-8976-793E12CE8B5E}" type="presOf" srcId="{02BA0D8E-884F-D545-BFF7-95207C181DAB}" destId="{A65AD4D5-8909-5946-8F88-687562140498}" srcOrd="0" destOrd="0" presId="urn:microsoft.com/office/officeart/2008/layout/LinedList"/>
    <dgm:cxn modelId="{56EF0DD2-1AD6-AC4D-8684-479C4202D190}" srcId="{02BA0D8E-884F-D545-BFF7-95207C181DAB}" destId="{C8A9BCB3-602F-FC4A-9626-FAF506510228}" srcOrd="1" destOrd="0" parTransId="{0B803AD3-6C2C-FE47-9803-37C40BE4582E}" sibTransId="{8C959BF5-5ADE-2F4A-B433-E7E671FD26BE}"/>
    <dgm:cxn modelId="{7015E3EB-35C3-254D-BC7D-630C6FC598B1}" type="presOf" srcId="{CF0461F7-EC97-BB41-A574-9C1E3009EACC}" destId="{555C89DA-E1DB-3B4A-ABC8-2978609C5C02}" srcOrd="0" destOrd="0" presId="urn:microsoft.com/office/officeart/2008/layout/LinedList"/>
    <dgm:cxn modelId="{BF311777-7B01-194E-BA34-9F98986C7A33}" type="presParOf" srcId="{A65AD4D5-8909-5946-8F88-687562140498}" destId="{A5977A9C-DD0E-BF46-AC95-06AA4017AD78}" srcOrd="0" destOrd="0" presId="urn:microsoft.com/office/officeart/2008/layout/LinedList"/>
    <dgm:cxn modelId="{4C49CB11-A858-384A-BCFB-EC8B0C0412D9}" type="presParOf" srcId="{A65AD4D5-8909-5946-8F88-687562140498}" destId="{E8740E8E-67CD-4D48-AED9-0DB9BF7841E7}" srcOrd="1" destOrd="0" presId="urn:microsoft.com/office/officeart/2008/layout/LinedList"/>
    <dgm:cxn modelId="{B5C80133-EF40-624F-B72E-F548737F018C}" type="presParOf" srcId="{E8740E8E-67CD-4D48-AED9-0DB9BF7841E7}" destId="{555C89DA-E1DB-3B4A-ABC8-2978609C5C02}" srcOrd="0" destOrd="0" presId="urn:microsoft.com/office/officeart/2008/layout/LinedList"/>
    <dgm:cxn modelId="{AA340FD8-E07F-7047-B5D0-A391DC68AF88}" type="presParOf" srcId="{E8740E8E-67CD-4D48-AED9-0DB9BF7841E7}" destId="{71CD581F-3F50-6148-A5D8-CDB437C301B8}" srcOrd="1" destOrd="0" presId="urn:microsoft.com/office/officeart/2008/layout/LinedList"/>
    <dgm:cxn modelId="{F0A86753-6406-A345-B500-38C11BDF6CDA}" type="presParOf" srcId="{A65AD4D5-8909-5946-8F88-687562140498}" destId="{71CF7893-AB16-4E4C-9D26-AF5613152A90}" srcOrd="2" destOrd="0" presId="urn:microsoft.com/office/officeart/2008/layout/LinedList"/>
    <dgm:cxn modelId="{96F6FCC6-AF32-8847-A05C-4EC1CCFA767B}" type="presParOf" srcId="{A65AD4D5-8909-5946-8F88-687562140498}" destId="{107FB082-08DF-3046-9D8B-610A799803D9}" srcOrd="3" destOrd="0" presId="urn:microsoft.com/office/officeart/2008/layout/LinedList"/>
    <dgm:cxn modelId="{64ADC261-5623-8C4B-BF78-D75ED776BA21}" type="presParOf" srcId="{107FB082-08DF-3046-9D8B-610A799803D9}" destId="{43BF4133-DCAF-BA49-86ED-DD8C584053C1}" srcOrd="0" destOrd="0" presId="urn:microsoft.com/office/officeart/2008/layout/LinedList"/>
    <dgm:cxn modelId="{2B234944-E98E-DE4E-BD29-C23500B91070}" type="presParOf" srcId="{107FB082-08DF-3046-9D8B-610A799803D9}" destId="{393661B9-1814-0F4F-B9A3-C2326B742B0C}" srcOrd="1" destOrd="0" presId="urn:microsoft.com/office/officeart/2008/layout/LinedList"/>
    <dgm:cxn modelId="{D87A8E4D-66F9-504A-8E6B-EF1211740908}" type="presParOf" srcId="{A65AD4D5-8909-5946-8F88-687562140498}" destId="{B28E389D-769D-1E45-8C61-E83FA428CAC0}" srcOrd="4" destOrd="0" presId="urn:microsoft.com/office/officeart/2008/layout/LinedList"/>
    <dgm:cxn modelId="{B974A25E-E62F-2840-81AA-16CC05F69931}" type="presParOf" srcId="{A65AD4D5-8909-5946-8F88-687562140498}" destId="{FF7D1BA7-6D33-4248-8907-734C131E1F5F}" srcOrd="5" destOrd="0" presId="urn:microsoft.com/office/officeart/2008/layout/LinedList"/>
    <dgm:cxn modelId="{F57B696E-731C-B141-9B03-ED3CDE536ABD}" type="presParOf" srcId="{FF7D1BA7-6D33-4248-8907-734C131E1F5F}" destId="{7072E178-7BBA-4E43-B0D7-9DC825B7D5C6}" srcOrd="0" destOrd="0" presId="urn:microsoft.com/office/officeart/2008/layout/LinedList"/>
    <dgm:cxn modelId="{64B0EC70-4EEE-6E48-B0EE-4ED3E01C5BDD}" type="presParOf" srcId="{FF7D1BA7-6D33-4248-8907-734C131E1F5F}" destId="{E40E5656-A92E-C147-A434-D0E26C997EC2}" srcOrd="1" destOrd="0" presId="urn:microsoft.com/office/officeart/2008/layout/LinedList"/>
    <dgm:cxn modelId="{10DE76AB-DE7B-EC47-8FD7-AF89F80EC56F}" type="presParOf" srcId="{A65AD4D5-8909-5946-8F88-687562140498}" destId="{292AE175-0EE8-F140-81D4-A5D203356AE0}" srcOrd="6" destOrd="0" presId="urn:microsoft.com/office/officeart/2008/layout/LinedList"/>
    <dgm:cxn modelId="{CC64987E-B4E8-3F4E-8C47-F2628D0574E1}" type="presParOf" srcId="{A65AD4D5-8909-5946-8F88-687562140498}" destId="{A12BDAFC-CF70-074C-A3EA-F4ED7B265377}" srcOrd="7" destOrd="0" presId="urn:microsoft.com/office/officeart/2008/layout/LinedList"/>
    <dgm:cxn modelId="{4410CC4A-D6FB-5E47-830F-8FC502C1BF92}" type="presParOf" srcId="{A12BDAFC-CF70-074C-A3EA-F4ED7B265377}" destId="{D6599D63-F0E0-2A43-ACE3-0BB351204239}" srcOrd="0" destOrd="0" presId="urn:microsoft.com/office/officeart/2008/layout/LinedList"/>
    <dgm:cxn modelId="{FEB3ED28-3EB4-B94B-A07C-07C6622DB336}" type="presParOf" srcId="{A12BDAFC-CF70-074C-A3EA-F4ED7B265377}" destId="{B7AF81E0-F7B6-D347-BC7D-6BBFBD1D1C3A}" srcOrd="1" destOrd="0" presId="urn:microsoft.com/office/officeart/2008/layout/LinedList"/>
    <dgm:cxn modelId="{DCD8085A-49A1-0B47-89B6-13DC814201FB}" type="presParOf" srcId="{A65AD4D5-8909-5946-8F88-687562140498}" destId="{C223B15D-EA86-7B45-BBF3-636F2E98BA3F}" srcOrd="8" destOrd="0" presId="urn:microsoft.com/office/officeart/2008/layout/LinedList"/>
    <dgm:cxn modelId="{DED4F353-BB3C-C346-B08E-72814DFD6A06}" type="presParOf" srcId="{A65AD4D5-8909-5946-8F88-687562140498}" destId="{3036CB73-5A4D-E34E-A80D-19178FE0E819}" srcOrd="9" destOrd="0" presId="urn:microsoft.com/office/officeart/2008/layout/LinedList"/>
    <dgm:cxn modelId="{71E823F5-3FB3-684B-9D36-752D3C57FA88}" type="presParOf" srcId="{3036CB73-5A4D-E34E-A80D-19178FE0E819}" destId="{8E6C79DB-67C6-1644-AD87-4F2EE3124A06}" srcOrd="0" destOrd="0" presId="urn:microsoft.com/office/officeart/2008/layout/LinedList"/>
    <dgm:cxn modelId="{33E96B44-B9F5-2247-A423-B2CE35302475}" type="presParOf" srcId="{3036CB73-5A4D-E34E-A80D-19178FE0E819}" destId="{4FF82FD0-95CB-5648-BDB0-E77FADDC8A88}" srcOrd="1" destOrd="0" presId="urn:microsoft.com/office/officeart/2008/layout/LinedList"/>
    <dgm:cxn modelId="{331415CE-94F0-234C-8036-6E3388728B31}" type="presParOf" srcId="{A65AD4D5-8909-5946-8F88-687562140498}" destId="{9FEFED8F-1FEC-DB4B-B3ED-F9A35A734DC3}" srcOrd="10" destOrd="0" presId="urn:microsoft.com/office/officeart/2008/layout/LinedList"/>
    <dgm:cxn modelId="{A004A9DF-3486-C14E-B5B8-E71CDE66B2A0}" type="presParOf" srcId="{A65AD4D5-8909-5946-8F88-687562140498}" destId="{D4C60F5D-4543-D04E-B0DD-5F03E1C9B9F8}" srcOrd="11" destOrd="0" presId="urn:microsoft.com/office/officeart/2008/layout/LinedList"/>
    <dgm:cxn modelId="{6F9EDC06-E42F-7B49-B3D5-4692E1FBA98B}" type="presParOf" srcId="{D4C60F5D-4543-D04E-B0DD-5F03E1C9B9F8}" destId="{E2AFD1CF-26F4-6242-8627-DF02DD28EED5}" srcOrd="0" destOrd="0" presId="urn:microsoft.com/office/officeart/2008/layout/LinedList"/>
    <dgm:cxn modelId="{F8A4D3B6-2A72-DD4D-BDCB-E60BA51DF9AC}" type="presParOf" srcId="{D4C60F5D-4543-D04E-B0DD-5F03E1C9B9F8}" destId="{B004A1F5-E9F6-064F-AE77-A399E64D9405}"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18</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5519C339-3C2A-2941-B7A6-6DD0D5A028D9}" type="presOf" srcId="{9DF463DA-C321-47BB-A748-44B5D722BDE4}" destId="{03D7DCAF-0535-410C-B056-000B4ED11701}" srcOrd="0" destOrd="0" presId="urn:microsoft.com/office/officeart/2005/8/layout/cycle2"/>
    <dgm:cxn modelId="{2BE6AE63-F6EE-254A-956A-9CCAC01FE5AF}" type="presOf" srcId="{5D62F0D9-F62E-470E-86C1-99BBA8E85072}" destId="{8A46F5DD-BBB3-4FA2-8F4F-67830FF58BA8}"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358671C4-BAF5-494D-8466-FAAB802930CE}"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02BA0D8E-884F-D545-BFF7-95207C181DAB}" type="doc">
      <dgm:prSet loTypeId="urn:microsoft.com/office/officeart/2008/layout/LinedList" loCatId=""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Page breaks</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C8A9BCB3-602F-FC4A-9626-FAF506510228}">
      <dgm:prSet/>
      <dgm:spPr/>
      <dgm:t>
        <a:bodyPr/>
        <a:lstStyle/>
        <a:p>
          <a:pPr rtl="0"/>
          <a:r>
            <a:rPr lang="en-CA" dirty="0"/>
            <a:t>Zoom</a:t>
          </a:r>
        </a:p>
      </dgm:t>
    </dgm:pt>
    <dgm:pt modelId="{0B803AD3-6C2C-FE47-9803-37C40BE4582E}" type="parTrans" cxnId="{56EF0DD2-1AD6-AC4D-8684-479C4202D190}">
      <dgm:prSet/>
      <dgm:spPr/>
      <dgm:t>
        <a:bodyPr/>
        <a:lstStyle/>
        <a:p>
          <a:endParaRPr lang="en-CA"/>
        </a:p>
      </dgm:t>
    </dgm:pt>
    <dgm:pt modelId="{8C959BF5-5ADE-2F4A-B433-E7E671FD26BE}" type="sibTrans" cxnId="{56EF0DD2-1AD6-AC4D-8684-479C4202D190}">
      <dgm:prSet/>
      <dgm:spPr/>
      <dgm:t>
        <a:bodyPr/>
        <a:lstStyle/>
        <a:p>
          <a:endParaRPr lang="en-CA"/>
        </a:p>
      </dgm:t>
    </dgm:pt>
    <dgm:pt modelId="{963218B0-03E7-B248-BDE4-426021B288BE}">
      <dgm:prSet/>
      <dgm:spPr/>
      <dgm:t>
        <a:bodyPr/>
        <a:lstStyle/>
        <a:p>
          <a:pPr rtl="0"/>
          <a:r>
            <a:rPr lang="en-CA" dirty="0"/>
            <a:t>Zeroes in NIL fields</a:t>
          </a:r>
        </a:p>
      </dgm:t>
    </dgm:pt>
    <dgm:pt modelId="{7474B829-CB2E-394E-8C4B-780B9C0B7223}" type="parTrans" cxnId="{712BC364-7900-994F-AAE7-E8F459A67C59}">
      <dgm:prSet/>
      <dgm:spPr/>
      <dgm:t>
        <a:bodyPr/>
        <a:lstStyle/>
        <a:p>
          <a:endParaRPr lang="en-CA"/>
        </a:p>
      </dgm:t>
    </dgm:pt>
    <dgm:pt modelId="{37A20B40-C6B8-2244-B6A7-3690479ACC26}" type="sibTrans" cxnId="{712BC364-7900-994F-AAE7-E8F459A67C59}">
      <dgm:prSet/>
      <dgm:spPr/>
      <dgm:t>
        <a:bodyPr/>
        <a:lstStyle/>
        <a:p>
          <a:endParaRPr lang="en-CA"/>
        </a:p>
      </dgm:t>
    </dgm:pt>
    <dgm:pt modelId="{021B76B3-F862-EB4D-99AE-2E3CF6A53E7C}">
      <dgm:prSet/>
      <dgm:spPr/>
      <dgm:t>
        <a:bodyPr/>
        <a:lstStyle/>
        <a:p>
          <a:pPr rtl="0"/>
          <a:r>
            <a:rPr lang="en-CA" dirty="0"/>
            <a:t>Tab icons</a:t>
          </a:r>
        </a:p>
      </dgm:t>
    </dgm:pt>
    <dgm:pt modelId="{6E5F3CA5-845B-564A-A385-1520DFA2F0DB}" type="parTrans" cxnId="{3B767F4E-AAE8-D04E-A7E2-D8018AE75D53}">
      <dgm:prSet/>
      <dgm:spPr/>
      <dgm:t>
        <a:bodyPr/>
        <a:lstStyle/>
        <a:p>
          <a:endParaRPr lang="en-CA"/>
        </a:p>
      </dgm:t>
    </dgm:pt>
    <dgm:pt modelId="{D9536534-8B17-EE44-9B95-74BAE13D0CE3}" type="sibTrans" cxnId="{3B767F4E-AAE8-D04E-A7E2-D8018AE75D53}">
      <dgm:prSet/>
      <dgm:spPr/>
      <dgm:t>
        <a:bodyPr/>
        <a:lstStyle/>
        <a:p>
          <a:endParaRPr lang="en-CA"/>
        </a:p>
      </dgm:t>
    </dgm:pt>
    <dgm:pt modelId="{19046CE4-597F-CD4A-AB52-A3C5E2A15403}">
      <dgm:prSet/>
      <dgm:spPr/>
      <dgm:t>
        <a:bodyPr/>
        <a:lstStyle/>
        <a:p>
          <a:pPr rtl="0"/>
          <a:r>
            <a:rPr lang="en-CA" dirty="0"/>
            <a:t>Line decimals</a:t>
          </a:r>
        </a:p>
      </dgm:t>
    </dgm:pt>
    <dgm:pt modelId="{3A450626-6637-D743-866A-CB3454228EF0}" type="parTrans" cxnId="{FAEE8D02-F38C-8843-9CE0-F19561AF8DEE}">
      <dgm:prSet/>
      <dgm:spPr/>
      <dgm:t>
        <a:bodyPr/>
        <a:lstStyle/>
        <a:p>
          <a:endParaRPr lang="en-CA"/>
        </a:p>
      </dgm:t>
    </dgm:pt>
    <dgm:pt modelId="{15A41638-BF56-8C42-B4D5-62E753CF1AFC}" type="sibTrans" cxnId="{FAEE8D02-F38C-8843-9CE0-F19561AF8DEE}">
      <dgm:prSet/>
      <dgm:spPr/>
      <dgm:t>
        <a:bodyPr/>
        <a:lstStyle/>
        <a:p>
          <a:endParaRPr lang="en-CA"/>
        </a:p>
      </dgm:t>
    </dgm:pt>
    <dgm:pt modelId="{3CB6F0BF-076D-9F48-9A46-60028B6FE005}">
      <dgm:prSet/>
      <dgm:spPr/>
      <dgm:t>
        <a:bodyPr/>
        <a:lstStyle/>
        <a:p>
          <a:pPr rtl="0"/>
          <a:r>
            <a:rPr lang="en-CA" dirty="0"/>
            <a:t>Negative brackets</a:t>
          </a:r>
        </a:p>
      </dgm:t>
    </dgm:pt>
    <dgm:pt modelId="{63DF646F-8161-E746-81DE-E736BB880F3B}" type="parTrans" cxnId="{C5848D0B-5FD4-F24C-8859-2A2FE4A00863}">
      <dgm:prSet/>
      <dgm:spPr/>
      <dgm:t>
        <a:bodyPr/>
        <a:lstStyle/>
        <a:p>
          <a:endParaRPr lang="en-CA"/>
        </a:p>
      </dgm:t>
    </dgm:pt>
    <dgm:pt modelId="{02B95B21-F90C-F54E-8161-72E219C98A93}" type="sibTrans" cxnId="{C5848D0B-5FD4-F24C-8859-2A2FE4A00863}">
      <dgm:prSet/>
      <dgm:spPr/>
      <dgm:t>
        <a:bodyPr/>
        <a:lstStyle/>
        <a:p>
          <a:endParaRPr lang="en-CA"/>
        </a:p>
      </dgm:t>
    </dgm:pt>
    <dgm:pt modelId="{05036E73-DF12-6D4A-8C4A-24BE0A4B2984}" type="pres">
      <dgm:prSet presAssocID="{02BA0D8E-884F-D545-BFF7-95207C181DAB}" presName="vert0" presStyleCnt="0">
        <dgm:presLayoutVars>
          <dgm:dir/>
          <dgm:animOne val="branch"/>
          <dgm:animLvl val="lvl"/>
        </dgm:presLayoutVars>
      </dgm:prSet>
      <dgm:spPr/>
    </dgm:pt>
    <dgm:pt modelId="{EFFE38D3-B5A0-2348-9EB3-5884FB8C3A7F}" type="pres">
      <dgm:prSet presAssocID="{CF0461F7-EC97-BB41-A574-9C1E3009EACC}" presName="thickLine" presStyleLbl="alignNode1" presStyleIdx="0" presStyleCnt="6"/>
      <dgm:spPr/>
    </dgm:pt>
    <dgm:pt modelId="{F53E3390-0BEF-B94B-959E-3313E146CD1F}" type="pres">
      <dgm:prSet presAssocID="{CF0461F7-EC97-BB41-A574-9C1E3009EACC}" presName="horz1" presStyleCnt="0"/>
      <dgm:spPr/>
    </dgm:pt>
    <dgm:pt modelId="{32EF12F9-18B3-C54D-8C06-6B1286E02600}" type="pres">
      <dgm:prSet presAssocID="{CF0461F7-EC97-BB41-A574-9C1E3009EACC}" presName="tx1" presStyleLbl="revTx" presStyleIdx="0" presStyleCnt="6"/>
      <dgm:spPr/>
    </dgm:pt>
    <dgm:pt modelId="{D9F7ABA7-C673-E44D-85CF-BD8ADC3026B5}" type="pres">
      <dgm:prSet presAssocID="{CF0461F7-EC97-BB41-A574-9C1E3009EACC}" presName="vert1" presStyleCnt="0"/>
      <dgm:spPr/>
    </dgm:pt>
    <dgm:pt modelId="{68DC045E-B595-CD4F-8690-C30DBB951B6F}" type="pres">
      <dgm:prSet presAssocID="{C8A9BCB3-602F-FC4A-9626-FAF506510228}" presName="thickLine" presStyleLbl="alignNode1" presStyleIdx="1" presStyleCnt="6"/>
      <dgm:spPr/>
    </dgm:pt>
    <dgm:pt modelId="{EF72FE2A-039D-6449-8240-3E3CF44EB230}" type="pres">
      <dgm:prSet presAssocID="{C8A9BCB3-602F-FC4A-9626-FAF506510228}" presName="horz1" presStyleCnt="0"/>
      <dgm:spPr/>
    </dgm:pt>
    <dgm:pt modelId="{8FF33461-4AA2-8D4F-ACEA-F2CA38716873}" type="pres">
      <dgm:prSet presAssocID="{C8A9BCB3-602F-FC4A-9626-FAF506510228}" presName="tx1" presStyleLbl="revTx" presStyleIdx="1" presStyleCnt="6"/>
      <dgm:spPr/>
    </dgm:pt>
    <dgm:pt modelId="{5F84A505-2C4E-F44B-A5F6-36DBD9333347}" type="pres">
      <dgm:prSet presAssocID="{C8A9BCB3-602F-FC4A-9626-FAF506510228}" presName="vert1" presStyleCnt="0"/>
      <dgm:spPr/>
    </dgm:pt>
    <dgm:pt modelId="{1A7C0F96-CDC5-1B49-96D7-653CB66BCA31}" type="pres">
      <dgm:prSet presAssocID="{963218B0-03E7-B248-BDE4-426021B288BE}" presName="thickLine" presStyleLbl="alignNode1" presStyleIdx="2" presStyleCnt="6"/>
      <dgm:spPr/>
    </dgm:pt>
    <dgm:pt modelId="{D2219082-4040-024B-8209-627B88F48317}" type="pres">
      <dgm:prSet presAssocID="{963218B0-03E7-B248-BDE4-426021B288BE}" presName="horz1" presStyleCnt="0"/>
      <dgm:spPr/>
    </dgm:pt>
    <dgm:pt modelId="{570173BC-A7E0-DB4F-B642-AC71C1215A44}" type="pres">
      <dgm:prSet presAssocID="{963218B0-03E7-B248-BDE4-426021B288BE}" presName="tx1" presStyleLbl="revTx" presStyleIdx="2" presStyleCnt="6"/>
      <dgm:spPr/>
    </dgm:pt>
    <dgm:pt modelId="{8D981BEB-34FC-9448-A9D5-CD9DD6F8E8DE}" type="pres">
      <dgm:prSet presAssocID="{963218B0-03E7-B248-BDE4-426021B288BE}" presName="vert1" presStyleCnt="0"/>
      <dgm:spPr/>
    </dgm:pt>
    <dgm:pt modelId="{8F7AF9A4-999C-6448-A380-9F1B6D6493AC}" type="pres">
      <dgm:prSet presAssocID="{3CB6F0BF-076D-9F48-9A46-60028B6FE005}" presName="thickLine" presStyleLbl="alignNode1" presStyleIdx="3" presStyleCnt="6"/>
      <dgm:spPr/>
    </dgm:pt>
    <dgm:pt modelId="{D8F4E45C-1FFE-CB44-AB5A-B56F9B14B7CE}" type="pres">
      <dgm:prSet presAssocID="{3CB6F0BF-076D-9F48-9A46-60028B6FE005}" presName="horz1" presStyleCnt="0"/>
      <dgm:spPr/>
    </dgm:pt>
    <dgm:pt modelId="{AE21CB3B-F798-6249-A38B-7F44509142D3}" type="pres">
      <dgm:prSet presAssocID="{3CB6F0BF-076D-9F48-9A46-60028B6FE005}" presName="tx1" presStyleLbl="revTx" presStyleIdx="3" presStyleCnt="6"/>
      <dgm:spPr/>
    </dgm:pt>
    <dgm:pt modelId="{E33BF6C5-87AF-6B43-9EEF-E18F7C245CA8}" type="pres">
      <dgm:prSet presAssocID="{3CB6F0BF-076D-9F48-9A46-60028B6FE005}" presName="vert1" presStyleCnt="0"/>
      <dgm:spPr/>
    </dgm:pt>
    <dgm:pt modelId="{DFD86D5F-6D8A-F342-AFB3-6F49E6F8E32C}" type="pres">
      <dgm:prSet presAssocID="{021B76B3-F862-EB4D-99AE-2E3CF6A53E7C}" presName="thickLine" presStyleLbl="alignNode1" presStyleIdx="4" presStyleCnt="6"/>
      <dgm:spPr/>
    </dgm:pt>
    <dgm:pt modelId="{E44AE03B-70DD-5B46-AC03-1B822CB576CD}" type="pres">
      <dgm:prSet presAssocID="{021B76B3-F862-EB4D-99AE-2E3CF6A53E7C}" presName="horz1" presStyleCnt="0"/>
      <dgm:spPr/>
    </dgm:pt>
    <dgm:pt modelId="{81C0C80C-1038-8C48-A38E-7BA44314D518}" type="pres">
      <dgm:prSet presAssocID="{021B76B3-F862-EB4D-99AE-2E3CF6A53E7C}" presName="tx1" presStyleLbl="revTx" presStyleIdx="4" presStyleCnt="6"/>
      <dgm:spPr/>
    </dgm:pt>
    <dgm:pt modelId="{5A4798FB-D892-4A4A-84DB-0932E8BF2B71}" type="pres">
      <dgm:prSet presAssocID="{021B76B3-F862-EB4D-99AE-2E3CF6A53E7C}" presName="vert1" presStyleCnt="0"/>
      <dgm:spPr/>
    </dgm:pt>
    <dgm:pt modelId="{B8B443D9-FC88-E44F-9B09-AE9E5C59547F}" type="pres">
      <dgm:prSet presAssocID="{19046CE4-597F-CD4A-AB52-A3C5E2A15403}" presName="thickLine" presStyleLbl="alignNode1" presStyleIdx="5" presStyleCnt="6"/>
      <dgm:spPr/>
    </dgm:pt>
    <dgm:pt modelId="{D5553583-FF56-F74A-9D3A-E408C9B9970A}" type="pres">
      <dgm:prSet presAssocID="{19046CE4-597F-CD4A-AB52-A3C5E2A15403}" presName="horz1" presStyleCnt="0"/>
      <dgm:spPr/>
    </dgm:pt>
    <dgm:pt modelId="{623F7BAB-2940-E740-A9CE-6271C34E2AD4}" type="pres">
      <dgm:prSet presAssocID="{19046CE4-597F-CD4A-AB52-A3C5E2A15403}" presName="tx1" presStyleLbl="revTx" presStyleIdx="5" presStyleCnt="6"/>
      <dgm:spPr/>
    </dgm:pt>
    <dgm:pt modelId="{FE7865AC-6B96-A948-BAD8-53D8EDA94899}" type="pres">
      <dgm:prSet presAssocID="{19046CE4-597F-CD4A-AB52-A3C5E2A15403}" presName="vert1" presStyleCnt="0"/>
      <dgm:spPr/>
    </dgm:pt>
  </dgm:ptLst>
  <dgm:cxnLst>
    <dgm:cxn modelId="{FAEE8D02-F38C-8843-9CE0-F19561AF8DEE}" srcId="{02BA0D8E-884F-D545-BFF7-95207C181DAB}" destId="{19046CE4-597F-CD4A-AB52-A3C5E2A15403}" srcOrd="5" destOrd="0" parTransId="{3A450626-6637-D743-866A-CB3454228EF0}" sibTransId="{15A41638-BF56-8C42-B4D5-62E753CF1AFC}"/>
    <dgm:cxn modelId="{C5848D0B-5FD4-F24C-8859-2A2FE4A00863}" srcId="{02BA0D8E-884F-D545-BFF7-95207C181DAB}" destId="{3CB6F0BF-076D-9F48-9A46-60028B6FE005}" srcOrd="3" destOrd="0" parTransId="{63DF646F-8161-E746-81DE-E736BB880F3B}" sibTransId="{02B95B21-F90C-F54E-8161-72E219C98A93}"/>
    <dgm:cxn modelId="{3B767F4E-AAE8-D04E-A7E2-D8018AE75D53}" srcId="{02BA0D8E-884F-D545-BFF7-95207C181DAB}" destId="{021B76B3-F862-EB4D-99AE-2E3CF6A53E7C}" srcOrd="4" destOrd="0" parTransId="{6E5F3CA5-845B-564A-A385-1520DFA2F0DB}" sibTransId="{D9536534-8B17-EE44-9B95-74BAE13D0CE3}"/>
    <dgm:cxn modelId="{712BC364-7900-994F-AAE7-E8F459A67C59}" srcId="{02BA0D8E-884F-D545-BFF7-95207C181DAB}" destId="{963218B0-03E7-B248-BDE4-426021B288BE}" srcOrd="2" destOrd="0" parTransId="{7474B829-CB2E-394E-8C4B-780B9C0B7223}" sibTransId="{37A20B40-C6B8-2244-B6A7-3690479ACC26}"/>
    <dgm:cxn modelId="{898E4C7B-324C-5140-BB7A-5FEB01CCFC45}" type="presOf" srcId="{CF0461F7-EC97-BB41-A574-9C1E3009EACC}" destId="{32EF12F9-18B3-C54D-8C06-6B1286E02600}" srcOrd="0" destOrd="0" presId="urn:microsoft.com/office/officeart/2008/layout/LinedList"/>
    <dgm:cxn modelId="{9DAE277C-6151-914A-9FE0-39FB184242BC}" type="presOf" srcId="{021B76B3-F862-EB4D-99AE-2E3CF6A53E7C}" destId="{81C0C80C-1038-8C48-A38E-7BA44314D518}" srcOrd="0" destOrd="0" presId="urn:microsoft.com/office/officeart/2008/layout/LinedList"/>
    <dgm:cxn modelId="{8522AA88-DEC6-FF40-8657-9F5EA3ECFBC9}" type="presOf" srcId="{963218B0-03E7-B248-BDE4-426021B288BE}" destId="{570173BC-A7E0-DB4F-B642-AC71C1215A44}" srcOrd="0" destOrd="0" presId="urn:microsoft.com/office/officeart/2008/layout/LinedList"/>
    <dgm:cxn modelId="{674D6C8A-30E6-564D-9142-120BB4D947A9}" srcId="{02BA0D8E-884F-D545-BFF7-95207C181DAB}" destId="{CF0461F7-EC97-BB41-A574-9C1E3009EACC}" srcOrd="0" destOrd="0" parTransId="{B2C709E6-0566-4D4E-97EA-2EBE699D701F}" sibTransId="{ABC1C475-5434-1B41-BC48-ADC728C8CBF7}"/>
    <dgm:cxn modelId="{F9A934A9-CE44-2D47-9468-834D837DA2AA}" type="presOf" srcId="{C8A9BCB3-602F-FC4A-9626-FAF506510228}" destId="{8FF33461-4AA2-8D4F-ACEA-F2CA38716873}" srcOrd="0" destOrd="0" presId="urn:microsoft.com/office/officeart/2008/layout/LinedList"/>
    <dgm:cxn modelId="{D8356FAA-7CC9-8B47-AB30-4EE2DFBF30ED}" type="presOf" srcId="{3CB6F0BF-076D-9F48-9A46-60028B6FE005}" destId="{AE21CB3B-F798-6249-A38B-7F44509142D3}" srcOrd="0" destOrd="0" presId="urn:microsoft.com/office/officeart/2008/layout/LinedList"/>
    <dgm:cxn modelId="{78765DBD-7C08-504A-A899-01E80198B1EC}" type="presOf" srcId="{02BA0D8E-884F-D545-BFF7-95207C181DAB}" destId="{05036E73-DF12-6D4A-8C4A-24BE0A4B2984}" srcOrd="0" destOrd="0" presId="urn:microsoft.com/office/officeart/2008/layout/LinedList"/>
    <dgm:cxn modelId="{56EF0DD2-1AD6-AC4D-8684-479C4202D190}" srcId="{02BA0D8E-884F-D545-BFF7-95207C181DAB}" destId="{C8A9BCB3-602F-FC4A-9626-FAF506510228}" srcOrd="1" destOrd="0" parTransId="{0B803AD3-6C2C-FE47-9803-37C40BE4582E}" sibTransId="{8C959BF5-5ADE-2F4A-B433-E7E671FD26BE}"/>
    <dgm:cxn modelId="{A9EB82DF-665A-9640-AE69-61F93CB885E3}" type="presOf" srcId="{19046CE4-597F-CD4A-AB52-A3C5E2A15403}" destId="{623F7BAB-2940-E740-A9CE-6271C34E2AD4}" srcOrd="0" destOrd="0" presId="urn:microsoft.com/office/officeart/2008/layout/LinedList"/>
    <dgm:cxn modelId="{525914A9-28F9-3D4C-A06A-BF6ED9097576}" type="presParOf" srcId="{05036E73-DF12-6D4A-8C4A-24BE0A4B2984}" destId="{EFFE38D3-B5A0-2348-9EB3-5884FB8C3A7F}" srcOrd="0" destOrd="0" presId="urn:microsoft.com/office/officeart/2008/layout/LinedList"/>
    <dgm:cxn modelId="{CCCEC8A5-C59F-9342-B79A-8672A6FF20F2}" type="presParOf" srcId="{05036E73-DF12-6D4A-8C4A-24BE0A4B2984}" destId="{F53E3390-0BEF-B94B-959E-3313E146CD1F}" srcOrd="1" destOrd="0" presId="urn:microsoft.com/office/officeart/2008/layout/LinedList"/>
    <dgm:cxn modelId="{2EC147DC-9DE4-4940-A9E1-8D9B3DA51C1C}" type="presParOf" srcId="{F53E3390-0BEF-B94B-959E-3313E146CD1F}" destId="{32EF12F9-18B3-C54D-8C06-6B1286E02600}" srcOrd="0" destOrd="0" presId="urn:microsoft.com/office/officeart/2008/layout/LinedList"/>
    <dgm:cxn modelId="{450853CE-2BA7-0F46-B735-A848DB83BB45}" type="presParOf" srcId="{F53E3390-0BEF-B94B-959E-3313E146CD1F}" destId="{D9F7ABA7-C673-E44D-85CF-BD8ADC3026B5}" srcOrd="1" destOrd="0" presId="urn:microsoft.com/office/officeart/2008/layout/LinedList"/>
    <dgm:cxn modelId="{33EF9BE4-3961-4848-8F9B-F144D9170647}" type="presParOf" srcId="{05036E73-DF12-6D4A-8C4A-24BE0A4B2984}" destId="{68DC045E-B595-CD4F-8690-C30DBB951B6F}" srcOrd="2" destOrd="0" presId="urn:microsoft.com/office/officeart/2008/layout/LinedList"/>
    <dgm:cxn modelId="{E6DF982F-35FD-434B-9C3A-6012EE506BBE}" type="presParOf" srcId="{05036E73-DF12-6D4A-8C4A-24BE0A4B2984}" destId="{EF72FE2A-039D-6449-8240-3E3CF44EB230}" srcOrd="3" destOrd="0" presId="urn:microsoft.com/office/officeart/2008/layout/LinedList"/>
    <dgm:cxn modelId="{95485BEC-3D0F-7646-9CE5-68A27CAC3A5F}" type="presParOf" srcId="{EF72FE2A-039D-6449-8240-3E3CF44EB230}" destId="{8FF33461-4AA2-8D4F-ACEA-F2CA38716873}" srcOrd="0" destOrd="0" presId="urn:microsoft.com/office/officeart/2008/layout/LinedList"/>
    <dgm:cxn modelId="{59619F6D-C491-6A48-9DD8-2A7959054F24}" type="presParOf" srcId="{EF72FE2A-039D-6449-8240-3E3CF44EB230}" destId="{5F84A505-2C4E-F44B-A5F6-36DBD9333347}" srcOrd="1" destOrd="0" presId="urn:microsoft.com/office/officeart/2008/layout/LinedList"/>
    <dgm:cxn modelId="{7FE05181-FDA0-A746-9678-01921113B8A8}" type="presParOf" srcId="{05036E73-DF12-6D4A-8C4A-24BE0A4B2984}" destId="{1A7C0F96-CDC5-1B49-96D7-653CB66BCA31}" srcOrd="4" destOrd="0" presId="urn:microsoft.com/office/officeart/2008/layout/LinedList"/>
    <dgm:cxn modelId="{ED918260-0E2D-4C49-A164-5938962EDC48}" type="presParOf" srcId="{05036E73-DF12-6D4A-8C4A-24BE0A4B2984}" destId="{D2219082-4040-024B-8209-627B88F48317}" srcOrd="5" destOrd="0" presId="urn:microsoft.com/office/officeart/2008/layout/LinedList"/>
    <dgm:cxn modelId="{F98548D7-C16A-DF4C-86DF-8DDA8E6895FF}" type="presParOf" srcId="{D2219082-4040-024B-8209-627B88F48317}" destId="{570173BC-A7E0-DB4F-B642-AC71C1215A44}" srcOrd="0" destOrd="0" presId="urn:microsoft.com/office/officeart/2008/layout/LinedList"/>
    <dgm:cxn modelId="{C2AAE18B-1611-4B4D-B54B-7DEE7CB707F0}" type="presParOf" srcId="{D2219082-4040-024B-8209-627B88F48317}" destId="{8D981BEB-34FC-9448-A9D5-CD9DD6F8E8DE}" srcOrd="1" destOrd="0" presId="urn:microsoft.com/office/officeart/2008/layout/LinedList"/>
    <dgm:cxn modelId="{F3E04ECF-A9BB-0C4F-8787-8AA152728249}" type="presParOf" srcId="{05036E73-DF12-6D4A-8C4A-24BE0A4B2984}" destId="{8F7AF9A4-999C-6448-A380-9F1B6D6493AC}" srcOrd="6" destOrd="0" presId="urn:microsoft.com/office/officeart/2008/layout/LinedList"/>
    <dgm:cxn modelId="{3A7FFA7C-0ADC-5847-90D9-3988F2277DE4}" type="presParOf" srcId="{05036E73-DF12-6D4A-8C4A-24BE0A4B2984}" destId="{D8F4E45C-1FFE-CB44-AB5A-B56F9B14B7CE}" srcOrd="7" destOrd="0" presId="urn:microsoft.com/office/officeart/2008/layout/LinedList"/>
    <dgm:cxn modelId="{5105C478-43E4-D944-B3F2-17D5F376D1F7}" type="presParOf" srcId="{D8F4E45C-1FFE-CB44-AB5A-B56F9B14B7CE}" destId="{AE21CB3B-F798-6249-A38B-7F44509142D3}" srcOrd="0" destOrd="0" presId="urn:microsoft.com/office/officeart/2008/layout/LinedList"/>
    <dgm:cxn modelId="{C0CD0E75-C2BC-3344-A252-573061377B5D}" type="presParOf" srcId="{D8F4E45C-1FFE-CB44-AB5A-B56F9B14B7CE}" destId="{E33BF6C5-87AF-6B43-9EEF-E18F7C245CA8}" srcOrd="1" destOrd="0" presId="urn:microsoft.com/office/officeart/2008/layout/LinedList"/>
    <dgm:cxn modelId="{5D697C5C-7917-7345-99F9-47AD609094B6}" type="presParOf" srcId="{05036E73-DF12-6D4A-8C4A-24BE0A4B2984}" destId="{DFD86D5F-6D8A-F342-AFB3-6F49E6F8E32C}" srcOrd="8" destOrd="0" presId="urn:microsoft.com/office/officeart/2008/layout/LinedList"/>
    <dgm:cxn modelId="{76CF7192-580A-DD4B-88D3-5531382A05AC}" type="presParOf" srcId="{05036E73-DF12-6D4A-8C4A-24BE0A4B2984}" destId="{E44AE03B-70DD-5B46-AC03-1B822CB576CD}" srcOrd="9" destOrd="0" presId="urn:microsoft.com/office/officeart/2008/layout/LinedList"/>
    <dgm:cxn modelId="{C3D57E26-A842-AD44-8CD7-775B7D1A7B09}" type="presParOf" srcId="{E44AE03B-70DD-5B46-AC03-1B822CB576CD}" destId="{81C0C80C-1038-8C48-A38E-7BA44314D518}" srcOrd="0" destOrd="0" presId="urn:microsoft.com/office/officeart/2008/layout/LinedList"/>
    <dgm:cxn modelId="{6C6F6047-F0B9-4B49-BFD3-6D201DEA0EAD}" type="presParOf" srcId="{E44AE03B-70DD-5B46-AC03-1B822CB576CD}" destId="{5A4798FB-D892-4A4A-84DB-0932E8BF2B71}" srcOrd="1" destOrd="0" presId="urn:microsoft.com/office/officeart/2008/layout/LinedList"/>
    <dgm:cxn modelId="{D8FA0815-FCDE-A847-9BC2-F2D7D4959A33}" type="presParOf" srcId="{05036E73-DF12-6D4A-8C4A-24BE0A4B2984}" destId="{B8B443D9-FC88-E44F-9B09-AE9E5C59547F}" srcOrd="10" destOrd="0" presId="urn:microsoft.com/office/officeart/2008/layout/LinedList"/>
    <dgm:cxn modelId="{97D3D5BE-B8F4-294C-A4C7-2C58B90E6766}" type="presParOf" srcId="{05036E73-DF12-6D4A-8C4A-24BE0A4B2984}" destId="{D5553583-FF56-F74A-9D3A-E408C9B9970A}" srcOrd="11" destOrd="0" presId="urn:microsoft.com/office/officeart/2008/layout/LinedList"/>
    <dgm:cxn modelId="{0AFB7F85-B05A-3F41-8B83-A990A3A670DC}" type="presParOf" srcId="{D5553583-FF56-F74A-9D3A-E408C9B9970A}" destId="{623F7BAB-2940-E740-A9CE-6271C34E2AD4}" srcOrd="0" destOrd="0" presId="urn:microsoft.com/office/officeart/2008/layout/LinedList"/>
    <dgm:cxn modelId="{E2269EE2-4C40-6946-AD49-A8534D1D92AF}" type="presParOf" srcId="{D5553583-FF56-F74A-9D3A-E408C9B9970A}" destId="{FE7865AC-6B96-A948-BAD8-53D8EDA94899}"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18</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5BF38038-2631-9245-8CF9-28DF36B00A04}" type="presOf" srcId="{5D62F0D9-F62E-470E-86C1-99BBA8E85072}" destId="{8A46F5DD-BBB3-4FA2-8F4F-67830FF58BA8}" srcOrd="0" destOrd="0" presId="urn:microsoft.com/office/officeart/2005/8/layout/cycle2"/>
    <dgm:cxn modelId="{8FEBE0A1-B0C5-CE48-A5A8-EF8734306E2B}" type="presOf" srcId="{9DF463DA-C321-47BB-A748-44B5D722BDE4}" destId="{03D7DCAF-0535-410C-B056-000B4ED11701}"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80B3DA74-6C36-DA4F-B21F-13809397098B}"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02BA0D8E-884F-D545-BFF7-95207C181DAB}" type="doc">
      <dgm:prSet loTypeId="urn:microsoft.com/office/officeart/2008/layout/LinedList" loCatId=""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check for updates</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C8A9BCB3-602F-FC4A-9626-FAF506510228}">
      <dgm:prSet/>
      <dgm:spPr/>
      <dgm:t>
        <a:bodyPr/>
        <a:lstStyle/>
        <a:p>
          <a:pPr rtl="0"/>
          <a:r>
            <a:rPr lang="en-CA" dirty="0"/>
            <a:t>online features</a:t>
          </a:r>
        </a:p>
      </dgm:t>
    </dgm:pt>
    <dgm:pt modelId="{0B803AD3-6C2C-FE47-9803-37C40BE4582E}" type="parTrans" cxnId="{56EF0DD2-1AD6-AC4D-8684-479C4202D190}">
      <dgm:prSet/>
      <dgm:spPr/>
      <dgm:t>
        <a:bodyPr/>
        <a:lstStyle/>
        <a:p>
          <a:endParaRPr lang="en-CA"/>
        </a:p>
      </dgm:t>
    </dgm:pt>
    <dgm:pt modelId="{8C959BF5-5ADE-2F4A-B433-E7E671FD26BE}" type="sibTrans" cxnId="{56EF0DD2-1AD6-AC4D-8684-479C4202D190}">
      <dgm:prSet/>
      <dgm:spPr/>
      <dgm:t>
        <a:bodyPr/>
        <a:lstStyle/>
        <a:p>
          <a:endParaRPr lang="en-CA"/>
        </a:p>
      </dgm:t>
    </dgm:pt>
    <dgm:pt modelId="{9AD45453-BCEE-4C11-A34F-20C7DA7E9CC2}">
      <dgm:prSet/>
      <dgm:spPr/>
      <dgm:t>
        <a:bodyPr/>
        <a:lstStyle/>
        <a:p>
          <a:pPr rtl="0"/>
          <a:r>
            <a:rPr lang="en-CA" dirty="0"/>
            <a:t>live community</a:t>
          </a:r>
        </a:p>
      </dgm:t>
    </dgm:pt>
    <dgm:pt modelId="{7EDAC99F-7EF4-44FE-8FCA-554A172ECF5E}" type="parTrans" cxnId="{8DDC596A-2810-4C03-8AED-12B54121D421}">
      <dgm:prSet/>
      <dgm:spPr/>
      <dgm:t>
        <a:bodyPr/>
        <a:lstStyle/>
        <a:p>
          <a:endParaRPr lang="en-US"/>
        </a:p>
      </dgm:t>
    </dgm:pt>
    <dgm:pt modelId="{28E08FDC-7E53-42E6-A5A0-84CB37D0537C}" type="sibTrans" cxnId="{8DDC596A-2810-4C03-8AED-12B54121D421}">
      <dgm:prSet/>
      <dgm:spPr/>
      <dgm:t>
        <a:bodyPr/>
        <a:lstStyle/>
        <a:p>
          <a:endParaRPr lang="en-US"/>
        </a:p>
      </dgm:t>
    </dgm:pt>
    <dgm:pt modelId="{2AEB4650-A68C-C347-B880-873A7C1617D4}" type="pres">
      <dgm:prSet presAssocID="{02BA0D8E-884F-D545-BFF7-95207C181DAB}" presName="vert0" presStyleCnt="0">
        <dgm:presLayoutVars>
          <dgm:dir/>
          <dgm:animOne val="branch"/>
          <dgm:animLvl val="lvl"/>
        </dgm:presLayoutVars>
      </dgm:prSet>
      <dgm:spPr/>
    </dgm:pt>
    <dgm:pt modelId="{9303244B-714B-304E-B0C5-F7DB5FE29F6B}" type="pres">
      <dgm:prSet presAssocID="{CF0461F7-EC97-BB41-A574-9C1E3009EACC}" presName="thickLine" presStyleLbl="alignNode1" presStyleIdx="0" presStyleCnt="3"/>
      <dgm:spPr/>
    </dgm:pt>
    <dgm:pt modelId="{79A98C24-6BB1-2640-AC10-155088EB3E9F}" type="pres">
      <dgm:prSet presAssocID="{CF0461F7-EC97-BB41-A574-9C1E3009EACC}" presName="horz1" presStyleCnt="0"/>
      <dgm:spPr/>
    </dgm:pt>
    <dgm:pt modelId="{88773C72-B0D0-7644-90D8-E9EF1A236A55}" type="pres">
      <dgm:prSet presAssocID="{CF0461F7-EC97-BB41-A574-9C1E3009EACC}" presName="tx1" presStyleLbl="revTx" presStyleIdx="0" presStyleCnt="3"/>
      <dgm:spPr/>
    </dgm:pt>
    <dgm:pt modelId="{B1832021-3A86-934D-8852-D59E88781D0A}" type="pres">
      <dgm:prSet presAssocID="{CF0461F7-EC97-BB41-A574-9C1E3009EACC}" presName="vert1" presStyleCnt="0"/>
      <dgm:spPr/>
    </dgm:pt>
    <dgm:pt modelId="{D8666571-9CCD-7F46-8D7D-DABF1C5D9663}" type="pres">
      <dgm:prSet presAssocID="{9AD45453-BCEE-4C11-A34F-20C7DA7E9CC2}" presName="thickLine" presStyleLbl="alignNode1" presStyleIdx="1" presStyleCnt="3"/>
      <dgm:spPr/>
    </dgm:pt>
    <dgm:pt modelId="{708D5DAB-38D0-7E4F-976A-C7047FB3C87C}" type="pres">
      <dgm:prSet presAssocID="{9AD45453-BCEE-4C11-A34F-20C7DA7E9CC2}" presName="horz1" presStyleCnt="0"/>
      <dgm:spPr/>
    </dgm:pt>
    <dgm:pt modelId="{BAA5A141-5E74-6C4B-B6E7-3BE750DBACDF}" type="pres">
      <dgm:prSet presAssocID="{9AD45453-BCEE-4C11-A34F-20C7DA7E9CC2}" presName="tx1" presStyleLbl="revTx" presStyleIdx="1" presStyleCnt="3"/>
      <dgm:spPr/>
    </dgm:pt>
    <dgm:pt modelId="{90927721-3EA7-8F44-A971-47179D3398AF}" type="pres">
      <dgm:prSet presAssocID="{9AD45453-BCEE-4C11-A34F-20C7DA7E9CC2}" presName="vert1" presStyleCnt="0"/>
      <dgm:spPr/>
    </dgm:pt>
    <dgm:pt modelId="{9616249A-3DBD-B34C-9E7D-99C8B16A9DF3}" type="pres">
      <dgm:prSet presAssocID="{C8A9BCB3-602F-FC4A-9626-FAF506510228}" presName="thickLine" presStyleLbl="alignNode1" presStyleIdx="2" presStyleCnt="3"/>
      <dgm:spPr/>
    </dgm:pt>
    <dgm:pt modelId="{B3101B05-C244-9D49-844C-819BA10A8427}" type="pres">
      <dgm:prSet presAssocID="{C8A9BCB3-602F-FC4A-9626-FAF506510228}" presName="horz1" presStyleCnt="0"/>
      <dgm:spPr/>
    </dgm:pt>
    <dgm:pt modelId="{8CF3154B-A6E9-0D4F-8441-C350994C64A8}" type="pres">
      <dgm:prSet presAssocID="{C8A9BCB3-602F-FC4A-9626-FAF506510228}" presName="tx1" presStyleLbl="revTx" presStyleIdx="2" presStyleCnt="3"/>
      <dgm:spPr/>
    </dgm:pt>
    <dgm:pt modelId="{399ADE22-E463-134B-94B5-4DBC56DAB4B5}" type="pres">
      <dgm:prSet presAssocID="{C8A9BCB3-602F-FC4A-9626-FAF506510228}" presName="vert1" presStyleCnt="0"/>
      <dgm:spPr/>
    </dgm:pt>
  </dgm:ptLst>
  <dgm:cxnLst>
    <dgm:cxn modelId="{D230B516-C286-ED42-8D29-689F31EA31E8}" type="presOf" srcId="{CF0461F7-EC97-BB41-A574-9C1E3009EACC}" destId="{88773C72-B0D0-7644-90D8-E9EF1A236A55}" srcOrd="0" destOrd="0" presId="urn:microsoft.com/office/officeart/2008/layout/LinedList"/>
    <dgm:cxn modelId="{C5AA6128-9BAD-4F4B-8E93-0EAC096A5F9F}" type="presOf" srcId="{02BA0D8E-884F-D545-BFF7-95207C181DAB}" destId="{2AEB4650-A68C-C347-B880-873A7C1617D4}" srcOrd="0" destOrd="0" presId="urn:microsoft.com/office/officeart/2008/layout/LinedList"/>
    <dgm:cxn modelId="{8DDC596A-2810-4C03-8AED-12B54121D421}" srcId="{02BA0D8E-884F-D545-BFF7-95207C181DAB}" destId="{9AD45453-BCEE-4C11-A34F-20C7DA7E9CC2}" srcOrd="1" destOrd="0" parTransId="{7EDAC99F-7EF4-44FE-8FCA-554A172ECF5E}" sibTransId="{28E08FDC-7E53-42E6-A5A0-84CB37D0537C}"/>
    <dgm:cxn modelId="{674D6C8A-30E6-564D-9142-120BB4D947A9}" srcId="{02BA0D8E-884F-D545-BFF7-95207C181DAB}" destId="{CF0461F7-EC97-BB41-A574-9C1E3009EACC}" srcOrd="0" destOrd="0" parTransId="{B2C709E6-0566-4D4E-97EA-2EBE699D701F}" sibTransId="{ABC1C475-5434-1B41-BC48-ADC728C8CBF7}"/>
    <dgm:cxn modelId="{56EF0DD2-1AD6-AC4D-8684-479C4202D190}" srcId="{02BA0D8E-884F-D545-BFF7-95207C181DAB}" destId="{C8A9BCB3-602F-FC4A-9626-FAF506510228}" srcOrd="2" destOrd="0" parTransId="{0B803AD3-6C2C-FE47-9803-37C40BE4582E}" sibTransId="{8C959BF5-5ADE-2F4A-B433-E7E671FD26BE}"/>
    <dgm:cxn modelId="{1382F1D3-0CFB-CE4E-BDAF-F2BEF7DFF8F8}" type="presOf" srcId="{C8A9BCB3-602F-FC4A-9626-FAF506510228}" destId="{8CF3154B-A6E9-0D4F-8441-C350994C64A8}" srcOrd="0" destOrd="0" presId="urn:microsoft.com/office/officeart/2008/layout/LinedList"/>
    <dgm:cxn modelId="{704172E5-7035-584E-9648-48FD190627E4}" type="presOf" srcId="{9AD45453-BCEE-4C11-A34F-20C7DA7E9CC2}" destId="{BAA5A141-5E74-6C4B-B6E7-3BE750DBACDF}" srcOrd="0" destOrd="0" presId="urn:microsoft.com/office/officeart/2008/layout/LinedList"/>
    <dgm:cxn modelId="{1C541972-21B8-DF49-91C6-858ABA09A2BB}" type="presParOf" srcId="{2AEB4650-A68C-C347-B880-873A7C1617D4}" destId="{9303244B-714B-304E-B0C5-F7DB5FE29F6B}" srcOrd="0" destOrd="0" presId="urn:microsoft.com/office/officeart/2008/layout/LinedList"/>
    <dgm:cxn modelId="{C2B63494-7AEC-FE4D-BB68-D82572600A12}" type="presParOf" srcId="{2AEB4650-A68C-C347-B880-873A7C1617D4}" destId="{79A98C24-6BB1-2640-AC10-155088EB3E9F}" srcOrd="1" destOrd="0" presId="urn:microsoft.com/office/officeart/2008/layout/LinedList"/>
    <dgm:cxn modelId="{08CD03DB-8C96-2049-9FC9-3D2ADAAC7F93}" type="presParOf" srcId="{79A98C24-6BB1-2640-AC10-155088EB3E9F}" destId="{88773C72-B0D0-7644-90D8-E9EF1A236A55}" srcOrd="0" destOrd="0" presId="urn:microsoft.com/office/officeart/2008/layout/LinedList"/>
    <dgm:cxn modelId="{61EA0767-1A4E-4A40-A61D-46606343D839}" type="presParOf" srcId="{79A98C24-6BB1-2640-AC10-155088EB3E9F}" destId="{B1832021-3A86-934D-8852-D59E88781D0A}" srcOrd="1" destOrd="0" presId="urn:microsoft.com/office/officeart/2008/layout/LinedList"/>
    <dgm:cxn modelId="{61126170-BAD7-9D45-8AC4-419152C24146}" type="presParOf" srcId="{2AEB4650-A68C-C347-B880-873A7C1617D4}" destId="{D8666571-9CCD-7F46-8D7D-DABF1C5D9663}" srcOrd="2" destOrd="0" presId="urn:microsoft.com/office/officeart/2008/layout/LinedList"/>
    <dgm:cxn modelId="{961677CC-87E8-DD49-9D3A-8BDA8DC9671A}" type="presParOf" srcId="{2AEB4650-A68C-C347-B880-873A7C1617D4}" destId="{708D5DAB-38D0-7E4F-976A-C7047FB3C87C}" srcOrd="3" destOrd="0" presId="urn:microsoft.com/office/officeart/2008/layout/LinedList"/>
    <dgm:cxn modelId="{DC1C8944-B4C1-0144-8D8A-03BD6DAB9E8D}" type="presParOf" srcId="{708D5DAB-38D0-7E4F-976A-C7047FB3C87C}" destId="{BAA5A141-5E74-6C4B-B6E7-3BE750DBACDF}" srcOrd="0" destOrd="0" presId="urn:microsoft.com/office/officeart/2008/layout/LinedList"/>
    <dgm:cxn modelId="{71BFE5C0-D355-2948-9B9E-255052B9075B}" type="presParOf" srcId="{708D5DAB-38D0-7E4F-976A-C7047FB3C87C}" destId="{90927721-3EA7-8F44-A971-47179D3398AF}" srcOrd="1" destOrd="0" presId="urn:microsoft.com/office/officeart/2008/layout/LinedList"/>
    <dgm:cxn modelId="{3FEA7D6C-3DC1-3C4F-A9F6-5D2175423FFD}" type="presParOf" srcId="{2AEB4650-A68C-C347-B880-873A7C1617D4}" destId="{9616249A-3DBD-B34C-9E7D-99C8B16A9DF3}" srcOrd="4" destOrd="0" presId="urn:microsoft.com/office/officeart/2008/layout/LinedList"/>
    <dgm:cxn modelId="{AFF583F4-000C-374D-80A1-2E7D8E910120}" type="presParOf" srcId="{2AEB4650-A68C-C347-B880-873A7C1617D4}" destId="{B3101B05-C244-9D49-844C-819BA10A8427}" srcOrd="5" destOrd="0" presId="urn:microsoft.com/office/officeart/2008/layout/LinedList"/>
    <dgm:cxn modelId="{D9C7DFAD-90A4-0641-A814-9CDC972D7F25}" type="presParOf" srcId="{B3101B05-C244-9D49-844C-819BA10A8427}" destId="{8CF3154B-A6E9-0D4F-8441-C350994C64A8}" srcOrd="0" destOrd="0" presId="urn:microsoft.com/office/officeart/2008/layout/LinedList"/>
    <dgm:cxn modelId="{2FA01D1F-9794-E942-9523-8DB59177D6BD}" type="presParOf" srcId="{B3101B05-C244-9D49-844C-819BA10A8427}" destId="{399ADE22-E463-134B-94B5-4DBC56DAB4B5}"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19</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B5EA8F4E-6912-EF49-A58F-1884EE7BA2E7}" type="presOf" srcId="{5D62F0D9-F62E-470E-86C1-99BBA8E85072}" destId="{8A46F5DD-BBB3-4FA2-8F4F-67830FF58BA8}"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D38591D9-CA14-3144-AFEE-86ABB83B8624}" type="presOf" srcId="{9DF463DA-C321-47BB-A748-44B5D722BDE4}" destId="{03D7DCAF-0535-410C-B056-000B4ED11701}" srcOrd="0" destOrd="0" presId="urn:microsoft.com/office/officeart/2005/8/layout/cycle2"/>
    <dgm:cxn modelId="{5BC58CD9-78FE-444B-9D73-B471B04CD73F}"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02BA0D8E-884F-D545-BFF7-95207C181DAB}" type="doc">
      <dgm:prSet loTypeId="urn:microsoft.com/office/officeart/2008/layout/LinedList" loCatId=""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file naming</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C8A9BCB3-602F-FC4A-9626-FAF506510228}">
      <dgm:prSet/>
      <dgm:spPr/>
      <dgm:t>
        <a:bodyPr/>
        <a:lstStyle/>
        <a:p>
          <a:pPr rtl="0"/>
          <a:r>
            <a:rPr lang="en-CA" dirty="0"/>
            <a:t>pdf passwords</a:t>
          </a:r>
        </a:p>
      </dgm:t>
    </dgm:pt>
    <dgm:pt modelId="{0B803AD3-6C2C-FE47-9803-37C40BE4582E}" type="parTrans" cxnId="{56EF0DD2-1AD6-AC4D-8684-479C4202D190}">
      <dgm:prSet/>
      <dgm:spPr/>
      <dgm:t>
        <a:bodyPr/>
        <a:lstStyle/>
        <a:p>
          <a:endParaRPr lang="en-CA"/>
        </a:p>
      </dgm:t>
    </dgm:pt>
    <dgm:pt modelId="{8C959BF5-5ADE-2F4A-B433-E7E671FD26BE}" type="sibTrans" cxnId="{56EF0DD2-1AD6-AC4D-8684-479C4202D190}">
      <dgm:prSet/>
      <dgm:spPr/>
      <dgm:t>
        <a:bodyPr/>
        <a:lstStyle/>
        <a:p>
          <a:endParaRPr lang="en-CA"/>
        </a:p>
      </dgm:t>
    </dgm:pt>
    <dgm:pt modelId="{9AD45453-BCEE-4C11-A34F-20C7DA7E9CC2}">
      <dgm:prSet/>
      <dgm:spPr/>
      <dgm:t>
        <a:bodyPr/>
        <a:lstStyle/>
        <a:p>
          <a:pPr rtl="0"/>
          <a:r>
            <a:rPr lang="en-CA" dirty="0"/>
            <a:t>file location</a:t>
          </a:r>
        </a:p>
      </dgm:t>
    </dgm:pt>
    <dgm:pt modelId="{7EDAC99F-7EF4-44FE-8FCA-554A172ECF5E}" type="parTrans" cxnId="{8DDC596A-2810-4C03-8AED-12B54121D421}">
      <dgm:prSet/>
      <dgm:spPr/>
      <dgm:t>
        <a:bodyPr/>
        <a:lstStyle/>
        <a:p>
          <a:endParaRPr lang="en-US"/>
        </a:p>
      </dgm:t>
    </dgm:pt>
    <dgm:pt modelId="{28E08FDC-7E53-42E6-A5A0-84CB37D0537C}" type="sibTrans" cxnId="{8DDC596A-2810-4C03-8AED-12B54121D421}">
      <dgm:prSet/>
      <dgm:spPr/>
      <dgm:t>
        <a:bodyPr/>
        <a:lstStyle/>
        <a:p>
          <a:endParaRPr lang="en-US"/>
        </a:p>
      </dgm:t>
    </dgm:pt>
    <dgm:pt modelId="{B1C99DDA-F921-6A48-A435-E96393BA0505}" type="pres">
      <dgm:prSet presAssocID="{02BA0D8E-884F-D545-BFF7-95207C181DAB}" presName="vert0" presStyleCnt="0">
        <dgm:presLayoutVars>
          <dgm:dir/>
          <dgm:animOne val="branch"/>
          <dgm:animLvl val="lvl"/>
        </dgm:presLayoutVars>
      </dgm:prSet>
      <dgm:spPr/>
    </dgm:pt>
    <dgm:pt modelId="{BC4025BF-6B5E-1242-BFB8-36912491277A}" type="pres">
      <dgm:prSet presAssocID="{CF0461F7-EC97-BB41-A574-9C1E3009EACC}" presName="thickLine" presStyleLbl="alignNode1" presStyleIdx="0" presStyleCnt="3"/>
      <dgm:spPr/>
    </dgm:pt>
    <dgm:pt modelId="{CFF8F8B9-C19B-7F44-8C26-C067DB838BDC}" type="pres">
      <dgm:prSet presAssocID="{CF0461F7-EC97-BB41-A574-9C1E3009EACC}" presName="horz1" presStyleCnt="0"/>
      <dgm:spPr/>
    </dgm:pt>
    <dgm:pt modelId="{856B2DDE-AF52-0A44-9761-4B45E7D2C8B5}" type="pres">
      <dgm:prSet presAssocID="{CF0461F7-EC97-BB41-A574-9C1E3009EACC}" presName="tx1" presStyleLbl="revTx" presStyleIdx="0" presStyleCnt="3"/>
      <dgm:spPr/>
    </dgm:pt>
    <dgm:pt modelId="{18F596BC-6717-2F45-AF52-5D1276715256}" type="pres">
      <dgm:prSet presAssocID="{CF0461F7-EC97-BB41-A574-9C1E3009EACC}" presName="vert1" presStyleCnt="0"/>
      <dgm:spPr/>
    </dgm:pt>
    <dgm:pt modelId="{D08DC829-644B-9847-957E-FFBEA2EF819C}" type="pres">
      <dgm:prSet presAssocID="{9AD45453-BCEE-4C11-A34F-20C7DA7E9CC2}" presName="thickLine" presStyleLbl="alignNode1" presStyleIdx="1" presStyleCnt="3"/>
      <dgm:spPr/>
    </dgm:pt>
    <dgm:pt modelId="{6B0F5D0C-4534-A046-8855-56C0E2502E5E}" type="pres">
      <dgm:prSet presAssocID="{9AD45453-BCEE-4C11-A34F-20C7DA7E9CC2}" presName="horz1" presStyleCnt="0"/>
      <dgm:spPr/>
    </dgm:pt>
    <dgm:pt modelId="{82F032D1-BE09-5D43-8888-B41EB3B2482E}" type="pres">
      <dgm:prSet presAssocID="{9AD45453-BCEE-4C11-A34F-20C7DA7E9CC2}" presName="tx1" presStyleLbl="revTx" presStyleIdx="1" presStyleCnt="3"/>
      <dgm:spPr/>
    </dgm:pt>
    <dgm:pt modelId="{2926FC8A-9228-7748-9B83-660F6AA948A6}" type="pres">
      <dgm:prSet presAssocID="{9AD45453-BCEE-4C11-A34F-20C7DA7E9CC2}" presName="vert1" presStyleCnt="0"/>
      <dgm:spPr/>
    </dgm:pt>
    <dgm:pt modelId="{1AA4A319-85ED-CF41-8575-04816BB535FB}" type="pres">
      <dgm:prSet presAssocID="{C8A9BCB3-602F-FC4A-9626-FAF506510228}" presName="thickLine" presStyleLbl="alignNode1" presStyleIdx="2" presStyleCnt="3"/>
      <dgm:spPr/>
    </dgm:pt>
    <dgm:pt modelId="{4A45E422-B7D3-824F-BB1B-48931D0A2033}" type="pres">
      <dgm:prSet presAssocID="{C8A9BCB3-602F-FC4A-9626-FAF506510228}" presName="horz1" presStyleCnt="0"/>
      <dgm:spPr/>
    </dgm:pt>
    <dgm:pt modelId="{54323AE8-93F3-8D4C-AC06-F7D57962EF7D}" type="pres">
      <dgm:prSet presAssocID="{C8A9BCB3-602F-FC4A-9626-FAF506510228}" presName="tx1" presStyleLbl="revTx" presStyleIdx="2" presStyleCnt="3"/>
      <dgm:spPr/>
    </dgm:pt>
    <dgm:pt modelId="{50E6012D-7C3F-0345-BE0D-58100E536504}" type="pres">
      <dgm:prSet presAssocID="{C8A9BCB3-602F-FC4A-9626-FAF506510228}" presName="vert1" presStyleCnt="0"/>
      <dgm:spPr/>
    </dgm:pt>
  </dgm:ptLst>
  <dgm:cxnLst>
    <dgm:cxn modelId="{AC993933-A4BC-8446-88D3-872272B9E965}" type="presOf" srcId="{CF0461F7-EC97-BB41-A574-9C1E3009EACC}" destId="{856B2DDE-AF52-0A44-9761-4B45E7D2C8B5}" srcOrd="0" destOrd="0" presId="urn:microsoft.com/office/officeart/2008/layout/LinedList"/>
    <dgm:cxn modelId="{11F3FF3C-9508-954B-9141-03E9DDF89C6F}" type="presOf" srcId="{C8A9BCB3-602F-FC4A-9626-FAF506510228}" destId="{54323AE8-93F3-8D4C-AC06-F7D57962EF7D}" srcOrd="0" destOrd="0" presId="urn:microsoft.com/office/officeart/2008/layout/LinedList"/>
    <dgm:cxn modelId="{A4A20041-D007-B845-B3EF-B64E4D24487C}" type="presOf" srcId="{02BA0D8E-884F-D545-BFF7-95207C181DAB}" destId="{B1C99DDA-F921-6A48-A435-E96393BA0505}" srcOrd="0" destOrd="0" presId="urn:microsoft.com/office/officeart/2008/layout/LinedList"/>
    <dgm:cxn modelId="{8DDC596A-2810-4C03-8AED-12B54121D421}" srcId="{02BA0D8E-884F-D545-BFF7-95207C181DAB}" destId="{9AD45453-BCEE-4C11-A34F-20C7DA7E9CC2}" srcOrd="1" destOrd="0" parTransId="{7EDAC99F-7EF4-44FE-8FCA-554A172ECF5E}" sibTransId="{28E08FDC-7E53-42E6-A5A0-84CB37D0537C}"/>
    <dgm:cxn modelId="{674D6C8A-30E6-564D-9142-120BB4D947A9}" srcId="{02BA0D8E-884F-D545-BFF7-95207C181DAB}" destId="{CF0461F7-EC97-BB41-A574-9C1E3009EACC}" srcOrd="0" destOrd="0" parTransId="{B2C709E6-0566-4D4E-97EA-2EBE699D701F}" sibTransId="{ABC1C475-5434-1B41-BC48-ADC728C8CBF7}"/>
    <dgm:cxn modelId="{785DD8BB-F707-2649-B110-042CB30E9879}" type="presOf" srcId="{9AD45453-BCEE-4C11-A34F-20C7DA7E9CC2}" destId="{82F032D1-BE09-5D43-8888-B41EB3B2482E}" srcOrd="0" destOrd="0" presId="urn:microsoft.com/office/officeart/2008/layout/LinedList"/>
    <dgm:cxn modelId="{56EF0DD2-1AD6-AC4D-8684-479C4202D190}" srcId="{02BA0D8E-884F-D545-BFF7-95207C181DAB}" destId="{C8A9BCB3-602F-FC4A-9626-FAF506510228}" srcOrd="2" destOrd="0" parTransId="{0B803AD3-6C2C-FE47-9803-37C40BE4582E}" sibTransId="{8C959BF5-5ADE-2F4A-B433-E7E671FD26BE}"/>
    <dgm:cxn modelId="{10948D84-BC49-0546-823E-2CA0B831A69B}" type="presParOf" srcId="{B1C99DDA-F921-6A48-A435-E96393BA0505}" destId="{BC4025BF-6B5E-1242-BFB8-36912491277A}" srcOrd="0" destOrd="0" presId="urn:microsoft.com/office/officeart/2008/layout/LinedList"/>
    <dgm:cxn modelId="{5B1B1122-DA1A-4C4F-81D7-31C6D7878841}" type="presParOf" srcId="{B1C99DDA-F921-6A48-A435-E96393BA0505}" destId="{CFF8F8B9-C19B-7F44-8C26-C067DB838BDC}" srcOrd="1" destOrd="0" presId="urn:microsoft.com/office/officeart/2008/layout/LinedList"/>
    <dgm:cxn modelId="{85138912-034B-CB4D-B941-0CD7C6C83932}" type="presParOf" srcId="{CFF8F8B9-C19B-7F44-8C26-C067DB838BDC}" destId="{856B2DDE-AF52-0A44-9761-4B45E7D2C8B5}" srcOrd="0" destOrd="0" presId="urn:microsoft.com/office/officeart/2008/layout/LinedList"/>
    <dgm:cxn modelId="{0E5BA7D6-9A67-724D-B544-7CFD878292E9}" type="presParOf" srcId="{CFF8F8B9-C19B-7F44-8C26-C067DB838BDC}" destId="{18F596BC-6717-2F45-AF52-5D1276715256}" srcOrd="1" destOrd="0" presId="urn:microsoft.com/office/officeart/2008/layout/LinedList"/>
    <dgm:cxn modelId="{67E27D5E-E6CE-6C48-A3C9-68B2F1AB85DC}" type="presParOf" srcId="{B1C99DDA-F921-6A48-A435-E96393BA0505}" destId="{D08DC829-644B-9847-957E-FFBEA2EF819C}" srcOrd="2" destOrd="0" presId="urn:microsoft.com/office/officeart/2008/layout/LinedList"/>
    <dgm:cxn modelId="{F51C3001-AF5C-A44D-9C14-7B41215945C1}" type="presParOf" srcId="{B1C99DDA-F921-6A48-A435-E96393BA0505}" destId="{6B0F5D0C-4534-A046-8855-56C0E2502E5E}" srcOrd="3" destOrd="0" presId="urn:microsoft.com/office/officeart/2008/layout/LinedList"/>
    <dgm:cxn modelId="{1C45719D-021D-5C4F-91DB-1F616FEC75E1}" type="presParOf" srcId="{6B0F5D0C-4534-A046-8855-56C0E2502E5E}" destId="{82F032D1-BE09-5D43-8888-B41EB3B2482E}" srcOrd="0" destOrd="0" presId="urn:microsoft.com/office/officeart/2008/layout/LinedList"/>
    <dgm:cxn modelId="{EE141E53-01AC-A448-971E-C902C7879968}" type="presParOf" srcId="{6B0F5D0C-4534-A046-8855-56C0E2502E5E}" destId="{2926FC8A-9228-7748-9B83-660F6AA948A6}" srcOrd="1" destOrd="0" presId="urn:microsoft.com/office/officeart/2008/layout/LinedList"/>
    <dgm:cxn modelId="{BFFDACFA-E0CD-1C4C-B188-DC817531F00A}" type="presParOf" srcId="{B1C99DDA-F921-6A48-A435-E96393BA0505}" destId="{1AA4A319-85ED-CF41-8575-04816BB535FB}" srcOrd="4" destOrd="0" presId="urn:microsoft.com/office/officeart/2008/layout/LinedList"/>
    <dgm:cxn modelId="{3E511796-CD44-8547-ABED-C2DD81291A92}" type="presParOf" srcId="{B1C99DDA-F921-6A48-A435-E96393BA0505}" destId="{4A45E422-B7D3-824F-BB1B-48931D0A2033}" srcOrd="5" destOrd="0" presId="urn:microsoft.com/office/officeart/2008/layout/LinedList"/>
    <dgm:cxn modelId="{7993779E-3149-B843-9A39-CBEC668DC399}" type="presParOf" srcId="{4A45E422-B7D3-824F-BB1B-48931D0A2033}" destId="{54323AE8-93F3-8D4C-AC06-F7D57962EF7D}" srcOrd="0" destOrd="0" presId="urn:microsoft.com/office/officeart/2008/layout/LinedList"/>
    <dgm:cxn modelId="{E91F213E-051F-F845-97C9-4476A5F90D37}" type="presParOf" srcId="{4A45E422-B7D3-824F-BB1B-48931D0A2033}" destId="{50E6012D-7C3F-0345-BE0D-58100E536504}"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20</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95160720-4A51-6944-A5BE-C817A0DD45EF}" type="presOf" srcId="{5D62F0D9-F62E-470E-86C1-99BBA8E85072}" destId="{8A46F5DD-BBB3-4FA2-8F4F-67830FF58BA8}"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1243D3F3-399B-5749-955D-062B497AB1F1}" type="presOf" srcId="{9DF463DA-C321-47BB-A748-44B5D722BDE4}" destId="{03D7DCAF-0535-410C-B056-000B4ED11701}" srcOrd="0" destOrd="0" presId="urn:microsoft.com/office/officeart/2005/8/layout/cycle2"/>
    <dgm:cxn modelId="{C5ED5FD4-9B82-BA41-BE66-A607CE1129EE}"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02BA0D8E-884F-D545-BFF7-95207C181DAB}" type="doc">
      <dgm:prSet loTypeId="urn:microsoft.com/office/officeart/2008/layout/LinedList" loCatId=""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New file defaults</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C8A9BCB3-602F-FC4A-9626-FAF506510228}">
      <dgm:prSet/>
      <dgm:spPr/>
      <dgm:t>
        <a:bodyPr/>
        <a:lstStyle/>
        <a:p>
          <a:pPr rtl="0"/>
          <a:r>
            <a:rPr lang="en-CA" dirty="0"/>
            <a:t>Carry forward defaults</a:t>
          </a:r>
        </a:p>
      </dgm:t>
    </dgm:pt>
    <dgm:pt modelId="{0B803AD3-6C2C-FE47-9803-37C40BE4582E}" type="parTrans" cxnId="{56EF0DD2-1AD6-AC4D-8684-479C4202D190}">
      <dgm:prSet/>
      <dgm:spPr/>
      <dgm:t>
        <a:bodyPr/>
        <a:lstStyle/>
        <a:p>
          <a:endParaRPr lang="en-CA"/>
        </a:p>
      </dgm:t>
    </dgm:pt>
    <dgm:pt modelId="{8C959BF5-5ADE-2F4A-B433-E7E671FD26BE}" type="sibTrans" cxnId="{56EF0DD2-1AD6-AC4D-8684-479C4202D190}">
      <dgm:prSet/>
      <dgm:spPr/>
      <dgm:t>
        <a:bodyPr/>
        <a:lstStyle/>
        <a:p>
          <a:endParaRPr lang="en-CA"/>
        </a:p>
      </dgm:t>
    </dgm:pt>
    <dgm:pt modelId="{32474BBC-88A0-1C44-A18F-4CF150105D86}">
      <dgm:prSet/>
      <dgm:spPr/>
      <dgm:t>
        <a:bodyPr/>
        <a:lstStyle/>
        <a:p>
          <a:pPr rtl="0"/>
          <a:r>
            <a:rPr lang="en-CA" dirty="0"/>
            <a:t>Language options</a:t>
          </a:r>
        </a:p>
      </dgm:t>
    </dgm:pt>
    <dgm:pt modelId="{17ECB415-8A09-024D-8509-6756546607A6}" type="parTrans" cxnId="{D5B1A383-B17E-5F45-AF81-5850EB7482C1}">
      <dgm:prSet/>
      <dgm:spPr/>
      <dgm:t>
        <a:bodyPr/>
        <a:lstStyle/>
        <a:p>
          <a:endParaRPr lang="en-US"/>
        </a:p>
      </dgm:t>
    </dgm:pt>
    <dgm:pt modelId="{4EC9D627-09BB-8F44-96E5-1099EC0F8D41}" type="sibTrans" cxnId="{D5B1A383-B17E-5F45-AF81-5850EB7482C1}">
      <dgm:prSet/>
      <dgm:spPr/>
      <dgm:t>
        <a:bodyPr/>
        <a:lstStyle/>
        <a:p>
          <a:endParaRPr lang="en-US"/>
        </a:p>
      </dgm:t>
    </dgm:pt>
    <dgm:pt modelId="{2CF948E7-ABE9-1846-A8BB-AE2BCBAB22B9}" type="pres">
      <dgm:prSet presAssocID="{02BA0D8E-884F-D545-BFF7-95207C181DAB}" presName="vert0" presStyleCnt="0">
        <dgm:presLayoutVars>
          <dgm:dir/>
          <dgm:animOne val="branch"/>
          <dgm:animLvl val="lvl"/>
        </dgm:presLayoutVars>
      </dgm:prSet>
      <dgm:spPr/>
    </dgm:pt>
    <dgm:pt modelId="{00B51E74-62F7-9640-892E-6DBB3F8D373A}" type="pres">
      <dgm:prSet presAssocID="{CF0461F7-EC97-BB41-A574-9C1E3009EACC}" presName="thickLine" presStyleLbl="alignNode1" presStyleIdx="0" presStyleCnt="3"/>
      <dgm:spPr/>
    </dgm:pt>
    <dgm:pt modelId="{DCAE5BE0-BB25-A047-BA29-2B33E4EC38C2}" type="pres">
      <dgm:prSet presAssocID="{CF0461F7-EC97-BB41-A574-9C1E3009EACC}" presName="horz1" presStyleCnt="0"/>
      <dgm:spPr/>
    </dgm:pt>
    <dgm:pt modelId="{3E83B2CF-EE03-2541-B218-3932180F8FEB}" type="pres">
      <dgm:prSet presAssocID="{CF0461F7-EC97-BB41-A574-9C1E3009EACC}" presName="tx1" presStyleLbl="revTx" presStyleIdx="0" presStyleCnt="3"/>
      <dgm:spPr/>
    </dgm:pt>
    <dgm:pt modelId="{B620B871-9E24-CF43-BC41-9B0BDAF4B073}" type="pres">
      <dgm:prSet presAssocID="{CF0461F7-EC97-BB41-A574-9C1E3009EACC}" presName="vert1" presStyleCnt="0"/>
      <dgm:spPr/>
    </dgm:pt>
    <dgm:pt modelId="{46211FA1-1747-724F-8F98-66D06F0FAF0B}" type="pres">
      <dgm:prSet presAssocID="{C8A9BCB3-602F-FC4A-9626-FAF506510228}" presName="thickLine" presStyleLbl="alignNode1" presStyleIdx="1" presStyleCnt="3"/>
      <dgm:spPr/>
    </dgm:pt>
    <dgm:pt modelId="{2CD7918F-778C-8445-9CA2-3C7CA24D0602}" type="pres">
      <dgm:prSet presAssocID="{C8A9BCB3-602F-FC4A-9626-FAF506510228}" presName="horz1" presStyleCnt="0"/>
      <dgm:spPr/>
    </dgm:pt>
    <dgm:pt modelId="{6796CDED-5677-034B-8624-FCA398960B2B}" type="pres">
      <dgm:prSet presAssocID="{C8A9BCB3-602F-FC4A-9626-FAF506510228}" presName="tx1" presStyleLbl="revTx" presStyleIdx="1" presStyleCnt="3"/>
      <dgm:spPr/>
    </dgm:pt>
    <dgm:pt modelId="{BD30C654-EF83-CF47-A6E0-6C6D9CA3EB31}" type="pres">
      <dgm:prSet presAssocID="{C8A9BCB3-602F-FC4A-9626-FAF506510228}" presName="vert1" presStyleCnt="0"/>
      <dgm:spPr/>
    </dgm:pt>
    <dgm:pt modelId="{2704E17B-BBCB-AA4A-BA42-8BA0BCB8691E}" type="pres">
      <dgm:prSet presAssocID="{32474BBC-88A0-1C44-A18F-4CF150105D86}" presName="thickLine" presStyleLbl="alignNode1" presStyleIdx="2" presStyleCnt="3"/>
      <dgm:spPr/>
    </dgm:pt>
    <dgm:pt modelId="{25EFAADF-8E32-0543-AF89-C636E6F03C73}" type="pres">
      <dgm:prSet presAssocID="{32474BBC-88A0-1C44-A18F-4CF150105D86}" presName="horz1" presStyleCnt="0"/>
      <dgm:spPr/>
    </dgm:pt>
    <dgm:pt modelId="{1C8C523D-09E8-D142-89DF-23A574CE46AF}" type="pres">
      <dgm:prSet presAssocID="{32474BBC-88A0-1C44-A18F-4CF150105D86}" presName="tx1" presStyleLbl="revTx" presStyleIdx="2" presStyleCnt="3"/>
      <dgm:spPr/>
    </dgm:pt>
    <dgm:pt modelId="{4D5CEECF-9AF0-D04F-A091-D73DD3461650}" type="pres">
      <dgm:prSet presAssocID="{32474BBC-88A0-1C44-A18F-4CF150105D86}" presName="vert1" presStyleCnt="0"/>
      <dgm:spPr/>
    </dgm:pt>
  </dgm:ptLst>
  <dgm:cxnLst>
    <dgm:cxn modelId="{AF4D307A-1FDE-5541-BD8A-FE56049A0922}" type="presOf" srcId="{CF0461F7-EC97-BB41-A574-9C1E3009EACC}" destId="{3E83B2CF-EE03-2541-B218-3932180F8FEB}" srcOrd="0" destOrd="0" presId="urn:microsoft.com/office/officeart/2008/layout/LinedList"/>
    <dgm:cxn modelId="{D5B1A383-B17E-5F45-AF81-5850EB7482C1}" srcId="{02BA0D8E-884F-D545-BFF7-95207C181DAB}" destId="{32474BBC-88A0-1C44-A18F-4CF150105D86}" srcOrd="2" destOrd="0" parTransId="{17ECB415-8A09-024D-8509-6756546607A6}" sibTransId="{4EC9D627-09BB-8F44-96E5-1099EC0F8D41}"/>
    <dgm:cxn modelId="{AAE82985-F493-7B46-8DA4-9F11E68278CD}" type="presOf" srcId="{02BA0D8E-884F-D545-BFF7-95207C181DAB}" destId="{2CF948E7-ABE9-1846-A8BB-AE2BCBAB22B9}" srcOrd="0" destOrd="0" presId="urn:microsoft.com/office/officeart/2008/layout/LinedList"/>
    <dgm:cxn modelId="{674D6C8A-30E6-564D-9142-120BB4D947A9}" srcId="{02BA0D8E-884F-D545-BFF7-95207C181DAB}" destId="{CF0461F7-EC97-BB41-A574-9C1E3009EACC}" srcOrd="0" destOrd="0" parTransId="{B2C709E6-0566-4D4E-97EA-2EBE699D701F}" sibTransId="{ABC1C475-5434-1B41-BC48-ADC728C8CBF7}"/>
    <dgm:cxn modelId="{76952FA4-2999-C645-A594-8A92CB16CD25}" type="presOf" srcId="{C8A9BCB3-602F-FC4A-9626-FAF506510228}" destId="{6796CDED-5677-034B-8624-FCA398960B2B}" srcOrd="0" destOrd="0" presId="urn:microsoft.com/office/officeart/2008/layout/LinedList"/>
    <dgm:cxn modelId="{DC7173C5-72E2-6045-B61B-5D8A0FFDEDD1}" type="presOf" srcId="{32474BBC-88A0-1C44-A18F-4CF150105D86}" destId="{1C8C523D-09E8-D142-89DF-23A574CE46AF}" srcOrd="0" destOrd="0" presId="urn:microsoft.com/office/officeart/2008/layout/LinedList"/>
    <dgm:cxn modelId="{56EF0DD2-1AD6-AC4D-8684-479C4202D190}" srcId="{02BA0D8E-884F-D545-BFF7-95207C181DAB}" destId="{C8A9BCB3-602F-FC4A-9626-FAF506510228}" srcOrd="1" destOrd="0" parTransId="{0B803AD3-6C2C-FE47-9803-37C40BE4582E}" sibTransId="{8C959BF5-5ADE-2F4A-B433-E7E671FD26BE}"/>
    <dgm:cxn modelId="{CD7DED5E-B752-6746-8AFE-BD00BBF4DEDC}" type="presParOf" srcId="{2CF948E7-ABE9-1846-A8BB-AE2BCBAB22B9}" destId="{00B51E74-62F7-9640-892E-6DBB3F8D373A}" srcOrd="0" destOrd="0" presId="urn:microsoft.com/office/officeart/2008/layout/LinedList"/>
    <dgm:cxn modelId="{90ECDA12-2FAD-0D48-8AAB-5EEEFE19B7F2}" type="presParOf" srcId="{2CF948E7-ABE9-1846-A8BB-AE2BCBAB22B9}" destId="{DCAE5BE0-BB25-A047-BA29-2B33E4EC38C2}" srcOrd="1" destOrd="0" presId="urn:microsoft.com/office/officeart/2008/layout/LinedList"/>
    <dgm:cxn modelId="{1B0533D1-7038-F543-A4E7-F16C6F6B9559}" type="presParOf" srcId="{DCAE5BE0-BB25-A047-BA29-2B33E4EC38C2}" destId="{3E83B2CF-EE03-2541-B218-3932180F8FEB}" srcOrd="0" destOrd="0" presId="urn:microsoft.com/office/officeart/2008/layout/LinedList"/>
    <dgm:cxn modelId="{95D87197-05B8-1B47-92CB-112AE1AF3F36}" type="presParOf" srcId="{DCAE5BE0-BB25-A047-BA29-2B33E4EC38C2}" destId="{B620B871-9E24-CF43-BC41-9B0BDAF4B073}" srcOrd="1" destOrd="0" presId="urn:microsoft.com/office/officeart/2008/layout/LinedList"/>
    <dgm:cxn modelId="{2EA58FB8-6C1C-E249-9A9D-F1C125834949}" type="presParOf" srcId="{2CF948E7-ABE9-1846-A8BB-AE2BCBAB22B9}" destId="{46211FA1-1747-724F-8F98-66D06F0FAF0B}" srcOrd="2" destOrd="0" presId="urn:microsoft.com/office/officeart/2008/layout/LinedList"/>
    <dgm:cxn modelId="{90177AFF-C547-3F4B-9D5D-298E50822918}" type="presParOf" srcId="{2CF948E7-ABE9-1846-A8BB-AE2BCBAB22B9}" destId="{2CD7918F-778C-8445-9CA2-3C7CA24D0602}" srcOrd="3" destOrd="0" presId="urn:microsoft.com/office/officeart/2008/layout/LinedList"/>
    <dgm:cxn modelId="{9DCE3EA1-C9BF-C944-AC1B-95C4D9119CBA}" type="presParOf" srcId="{2CD7918F-778C-8445-9CA2-3C7CA24D0602}" destId="{6796CDED-5677-034B-8624-FCA398960B2B}" srcOrd="0" destOrd="0" presId="urn:microsoft.com/office/officeart/2008/layout/LinedList"/>
    <dgm:cxn modelId="{91417F2D-4C37-1944-AE20-472B28C029CE}" type="presParOf" srcId="{2CD7918F-778C-8445-9CA2-3C7CA24D0602}" destId="{BD30C654-EF83-CF47-A6E0-6C6D9CA3EB31}" srcOrd="1" destOrd="0" presId="urn:microsoft.com/office/officeart/2008/layout/LinedList"/>
    <dgm:cxn modelId="{BF5C93B2-23D8-4C45-A0C6-9671ED40B368}" type="presParOf" srcId="{2CF948E7-ABE9-1846-A8BB-AE2BCBAB22B9}" destId="{2704E17B-BBCB-AA4A-BA42-8BA0BCB8691E}" srcOrd="4" destOrd="0" presId="urn:microsoft.com/office/officeart/2008/layout/LinedList"/>
    <dgm:cxn modelId="{C7833862-8019-E34D-8B71-2C7719F12E35}" type="presParOf" srcId="{2CF948E7-ABE9-1846-A8BB-AE2BCBAB22B9}" destId="{25EFAADF-8E32-0543-AF89-C636E6F03C73}" srcOrd="5" destOrd="0" presId="urn:microsoft.com/office/officeart/2008/layout/LinedList"/>
    <dgm:cxn modelId="{BA9CF553-4905-BF45-A38C-B7DA4E54EB82}" type="presParOf" srcId="{25EFAADF-8E32-0543-AF89-C636E6F03C73}" destId="{1C8C523D-09E8-D142-89DF-23A574CE46AF}" srcOrd="0" destOrd="0" presId="urn:microsoft.com/office/officeart/2008/layout/LinedList"/>
    <dgm:cxn modelId="{FA549D1B-D374-DD46-9D74-82871D98774A}" type="presParOf" srcId="{25EFAADF-8E32-0543-AF89-C636E6F03C73}" destId="{4D5CEECF-9AF0-D04F-A091-D73DD3461650}"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21</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DE7A5ECD-2A79-4AA9-A9C6-B8376AED4A18}" srcId="{5D62F0D9-F62E-470E-86C1-99BBA8E85072}" destId="{9DF463DA-C321-47BB-A748-44B5D722BDE4}" srcOrd="0" destOrd="0" parTransId="{A8C8FDDF-A7B6-466B-8F6D-BCEF0E6E70DC}" sibTransId="{F48166A5-2C17-4691-BB69-444CA7309013}"/>
    <dgm:cxn modelId="{588278EA-1856-C84E-A676-60B6D0704E12}" type="presOf" srcId="{5D62F0D9-F62E-470E-86C1-99BBA8E85072}" destId="{8A46F5DD-BBB3-4FA2-8F4F-67830FF58BA8}" srcOrd="0" destOrd="0" presId="urn:microsoft.com/office/officeart/2005/8/layout/cycle2"/>
    <dgm:cxn modelId="{584C41FD-CEA2-464D-9518-1B4FA113D37F}" type="presOf" srcId="{9DF463DA-C321-47BB-A748-44B5D722BDE4}" destId="{03D7DCAF-0535-410C-B056-000B4ED11701}" srcOrd="0" destOrd="0" presId="urn:microsoft.com/office/officeart/2005/8/layout/cycle2"/>
    <dgm:cxn modelId="{15975836-FF04-9D44-A615-EE59A4C08758}"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BC2DB20-EFFD-4E7B-93C1-553BACDC4218}" type="doc">
      <dgm:prSet loTypeId="urn:microsoft.com/office/officeart/2008/layout/LinedList" loCatId="" qsTypeId="urn:microsoft.com/office/officeart/2005/8/quickstyle/simple3" qsCatId="simple" csTypeId="urn:microsoft.com/office/officeart/2005/8/colors/accent1_2" csCatId="accent1" phldr="1"/>
      <dgm:spPr/>
      <dgm:t>
        <a:bodyPr/>
        <a:lstStyle/>
        <a:p>
          <a:endParaRPr lang="en-US"/>
        </a:p>
      </dgm:t>
    </dgm:pt>
    <dgm:pt modelId="{5CB291CD-C87A-4E73-A31F-A5E8DC48EC04}">
      <dgm:prSet/>
      <dgm:spPr/>
      <dgm:t>
        <a:bodyPr/>
        <a:lstStyle/>
        <a:p>
          <a:r>
            <a:rPr lang="en-US" dirty="0"/>
            <a:t>Flexible licensing</a:t>
          </a:r>
        </a:p>
      </dgm:t>
    </dgm:pt>
    <dgm:pt modelId="{E99F5492-A06F-4526-99D6-3D5D0DAAB8D2}" type="parTrans" cxnId="{C8BF1404-11AF-480F-8668-46368F1D8C9B}">
      <dgm:prSet/>
      <dgm:spPr/>
      <dgm:t>
        <a:bodyPr/>
        <a:lstStyle/>
        <a:p>
          <a:endParaRPr lang="en-US"/>
        </a:p>
      </dgm:t>
    </dgm:pt>
    <dgm:pt modelId="{EB8001B5-1F3F-4B4C-99B7-5E44380F79E6}" type="sibTrans" cxnId="{C8BF1404-11AF-480F-8668-46368F1D8C9B}">
      <dgm:prSet/>
      <dgm:spPr/>
      <dgm:t>
        <a:bodyPr/>
        <a:lstStyle/>
        <a:p>
          <a:endParaRPr lang="en-US"/>
        </a:p>
      </dgm:t>
    </dgm:pt>
    <dgm:pt modelId="{36563EE1-3303-2E4E-95E5-5B45720A99FB}">
      <dgm:prSet/>
      <dgm:spPr/>
      <dgm:t>
        <a:bodyPr/>
        <a:lstStyle/>
        <a:p>
          <a:r>
            <a:rPr lang="en-US" dirty="0"/>
            <a:t>What is it?</a:t>
          </a:r>
        </a:p>
      </dgm:t>
    </dgm:pt>
    <dgm:pt modelId="{F10C2558-B2A1-F546-9407-638C3A041175}" type="parTrans" cxnId="{744AD923-5AC2-FF44-BF5A-4DA3DAC38D6E}">
      <dgm:prSet/>
      <dgm:spPr/>
      <dgm:t>
        <a:bodyPr/>
        <a:lstStyle/>
        <a:p>
          <a:endParaRPr lang="en-CA"/>
        </a:p>
      </dgm:t>
    </dgm:pt>
    <dgm:pt modelId="{6D3563EE-58B2-384B-82D4-175E1085DD0E}" type="sibTrans" cxnId="{744AD923-5AC2-FF44-BF5A-4DA3DAC38D6E}">
      <dgm:prSet/>
      <dgm:spPr/>
      <dgm:t>
        <a:bodyPr/>
        <a:lstStyle/>
        <a:p>
          <a:endParaRPr lang="en-CA"/>
        </a:p>
      </dgm:t>
    </dgm:pt>
    <dgm:pt modelId="{3FEE7A2B-4999-824E-AC94-EA149D3523D2}">
      <dgm:prSet/>
      <dgm:spPr/>
      <dgm:t>
        <a:bodyPr/>
        <a:lstStyle/>
        <a:p>
          <a:r>
            <a:rPr lang="en-US" dirty="0"/>
            <a:t>How does it work?</a:t>
          </a:r>
        </a:p>
      </dgm:t>
    </dgm:pt>
    <dgm:pt modelId="{1CCB9001-7A87-5C43-A98C-474EBA690731}" type="parTrans" cxnId="{4ED7F6F2-F56F-4F45-880D-17BE41C0D22F}">
      <dgm:prSet/>
      <dgm:spPr/>
      <dgm:t>
        <a:bodyPr/>
        <a:lstStyle/>
        <a:p>
          <a:endParaRPr lang="en-CA"/>
        </a:p>
      </dgm:t>
    </dgm:pt>
    <dgm:pt modelId="{8079771B-4889-7D49-9155-D43683E77E96}" type="sibTrans" cxnId="{4ED7F6F2-F56F-4F45-880D-17BE41C0D22F}">
      <dgm:prSet/>
      <dgm:spPr/>
      <dgm:t>
        <a:bodyPr/>
        <a:lstStyle/>
        <a:p>
          <a:endParaRPr lang="en-CA"/>
        </a:p>
      </dgm:t>
    </dgm:pt>
    <dgm:pt modelId="{20E7D8AB-FCE6-BD41-A3F5-9F5CE1A8F549}">
      <dgm:prSet/>
      <dgm:spPr/>
      <dgm:t>
        <a:bodyPr/>
        <a:lstStyle/>
        <a:p>
          <a:r>
            <a:rPr lang="en-US" dirty="0"/>
            <a:t>Maximum licenses</a:t>
          </a:r>
        </a:p>
      </dgm:t>
    </dgm:pt>
    <dgm:pt modelId="{F86BE984-3DDD-9543-A75C-AFB105314FE5}" type="parTrans" cxnId="{B3E804E9-9FD9-2542-8E95-3BD18D95EA73}">
      <dgm:prSet/>
      <dgm:spPr/>
      <dgm:t>
        <a:bodyPr/>
        <a:lstStyle/>
        <a:p>
          <a:endParaRPr lang="en-CA"/>
        </a:p>
      </dgm:t>
    </dgm:pt>
    <dgm:pt modelId="{3C299E17-75F9-DD48-8946-0DFE44336A93}" type="sibTrans" cxnId="{B3E804E9-9FD9-2542-8E95-3BD18D95EA73}">
      <dgm:prSet/>
      <dgm:spPr/>
      <dgm:t>
        <a:bodyPr/>
        <a:lstStyle/>
        <a:p>
          <a:endParaRPr lang="en-CA"/>
        </a:p>
      </dgm:t>
    </dgm:pt>
    <dgm:pt modelId="{2624F628-459C-2340-8E0C-40CE855A070F}">
      <dgm:prSet/>
      <dgm:spPr/>
      <dgm:t>
        <a:bodyPr/>
        <a:lstStyle/>
        <a:p>
          <a:r>
            <a:rPr lang="en-US" dirty="0"/>
            <a:t>License overused</a:t>
          </a:r>
        </a:p>
      </dgm:t>
    </dgm:pt>
    <dgm:pt modelId="{AE73DBBE-CD9A-5D4B-B8E0-4E074202C2CC}" type="parTrans" cxnId="{B1E6C37F-ADF1-0149-8455-F457FFA3FB19}">
      <dgm:prSet/>
      <dgm:spPr/>
      <dgm:t>
        <a:bodyPr/>
        <a:lstStyle/>
        <a:p>
          <a:endParaRPr lang="en-CA"/>
        </a:p>
      </dgm:t>
    </dgm:pt>
    <dgm:pt modelId="{8C1C67B6-0AEF-B748-970C-F062DBE88930}" type="sibTrans" cxnId="{B1E6C37F-ADF1-0149-8455-F457FFA3FB19}">
      <dgm:prSet/>
      <dgm:spPr/>
      <dgm:t>
        <a:bodyPr/>
        <a:lstStyle/>
        <a:p>
          <a:endParaRPr lang="en-CA"/>
        </a:p>
      </dgm:t>
    </dgm:pt>
    <dgm:pt modelId="{852E7222-C471-6947-9164-41EFFFF69A95}">
      <dgm:prSet/>
      <dgm:spPr/>
      <dgm:t>
        <a:bodyPr/>
        <a:lstStyle/>
        <a:p>
          <a:r>
            <a:rPr lang="en-US" dirty="0"/>
            <a:t>How to prevent?</a:t>
          </a:r>
        </a:p>
      </dgm:t>
    </dgm:pt>
    <dgm:pt modelId="{19B21667-5BC1-BB47-8046-78D6BD3F714D}" type="parTrans" cxnId="{340EA31E-ECCD-9B44-85EB-BFA00FD2CEA7}">
      <dgm:prSet/>
      <dgm:spPr/>
      <dgm:t>
        <a:bodyPr/>
        <a:lstStyle/>
        <a:p>
          <a:endParaRPr lang="en-CA"/>
        </a:p>
      </dgm:t>
    </dgm:pt>
    <dgm:pt modelId="{404C5A82-53AD-044D-958A-D61BCCEAE885}" type="sibTrans" cxnId="{340EA31E-ECCD-9B44-85EB-BFA00FD2CEA7}">
      <dgm:prSet/>
      <dgm:spPr/>
      <dgm:t>
        <a:bodyPr/>
        <a:lstStyle/>
        <a:p>
          <a:endParaRPr lang="en-CA"/>
        </a:p>
      </dgm:t>
    </dgm:pt>
    <dgm:pt modelId="{14F95EBA-BFE5-3949-B7DA-CCC099726CAB}" type="pres">
      <dgm:prSet presAssocID="{7BC2DB20-EFFD-4E7B-93C1-553BACDC4218}" presName="vert0" presStyleCnt="0">
        <dgm:presLayoutVars>
          <dgm:dir/>
          <dgm:animOne val="branch"/>
          <dgm:animLvl val="lvl"/>
        </dgm:presLayoutVars>
      </dgm:prSet>
      <dgm:spPr/>
    </dgm:pt>
    <dgm:pt modelId="{72ECAA99-9346-2D4B-AA63-D81F4FA0DC5A}" type="pres">
      <dgm:prSet presAssocID="{5CB291CD-C87A-4E73-A31F-A5E8DC48EC04}" presName="thickLine" presStyleLbl="alignNode1" presStyleIdx="0" presStyleCnt="2"/>
      <dgm:spPr/>
    </dgm:pt>
    <dgm:pt modelId="{FE53B671-636B-954A-8EE7-AD141F65B395}" type="pres">
      <dgm:prSet presAssocID="{5CB291CD-C87A-4E73-A31F-A5E8DC48EC04}" presName="horz1" presStyleCnt="0"/>
      <dgm:spPr/>
    </dgm:pt>
    <dgm:pt modelId="{53A052C4-25A7-5941-A535-3249D483223F}" type="pres">
      <dgm:prSet presAssocID="{5CB291CD-C87A-4E73-A31F-A5E8DC48EC04}" presName="tx1" presStyleLbl="revTx" presStyleIdx="0" presStyleCnt="6"/>
      <dgm:spPr/>
    </dgm:pt>
    <dgm:pt modelId="{5038003A-A675-8D4F-8C53-9551B2CDA085}" type="pres">
      <dgm:prSet presAssocID="{5CB291CD-C87A-4E73-A31F-A5E8DC48EC04}" presName="vert1" presStyleCnt="0"/>
      <dgm:spPr/>
    </dgm:pt>
    <dgm:pt modelId="{FF203CF8-2F8A-3D49-B8D0-FBBBB21FD66A}" type="pres">
      <dgm:prSet presAssocID="{36563EE1-3303-2E4E-95E5-5B45720A99FB}" presName="vertSpace2a" presStyleCnt="0"/>
      <dgm:spPr/>
    </dgm:pt>
    <dgm:pt modelId="{2902159A-09C2-014F-BD45-65D3B0B90DD1}" type="pres">
      <dgm:prSet presAssocID="{36563EE1-3303-2E4E-95E5-5B45720A99FB}" presName="horz2" presStyleCnt="0"/>
      <dgm:spPr/>
    </dgm:pt>
    <dgm:pt modelId="{9E64F871-DA5D-9948-9412-FF88748D1375}" type="pres">
      <dgm:prSet presAssocID="{36563EE1-3303-2E4E-95E5-5B45720A99FB}" presName="horzSpace2" presStyleCnt="0"/>
      <dgm:spPr/>
    </dgm:pt>
    <dgm:pt modelId="{9602B4E8-F1DA-4F4B-87D6-2F8CE7D718B8}" type="pres">
      <dgm:prSet presAssocID="{36563EE1-3303-2E4E-95E5-5B45720A99FB}" presName="tx2" presStyleLbl="revTx" presStyleIdx="1" presStyleCnt="6"/>
      <dgm:spPr/>
    </dgm:pt>
    <dgm:pt modelId="{577E2660-F9FD-1D43-BFAA-36744638D115}" type="pres">
      <dgm:prSet presAssocID="{36563EE1-3303-2E4E-95E5-5B45720A99FB}" presName="vert2" presStyleCnt="0"/>
      <dgm:spPr/>
    </dgm:pt>
    <dgm:pt modelId="{02A658A8-39FB-B14A-AB70-855693CF36C3}" type="pres">
      <dgm:prSet presAssocID="{36563EE1-3303-2E4E-95E5-5B45720A99FB}" presName="thinLine2b" presStyleLbl="callout" presStyleIdx="0" presStyleCnt="4"/>
      <dgm:spPr/>
    </dgm:pt>
    <dgm:pt modelId="{E9651FF3-5AD2-E243-BBBF-23E8F6C11D2B}" type="pres">
      <dgm:prSet presAssocID="{36563EE1-3303-2E4E-95E5-5B45720A99FB}" presName="vertSpace2b" presStyleCnt="0"/>
      <dgm:spPr/>
    </dgm:pt>
    <dgm:pt modelId="{43F2169A-10C7-BC49-8BEC-2288838A72F9}" type="pres">
      <dgm:prSet presAssocID="{3FEE7A2B-4999-824E-AC94-EA149D3523D2}" presName="horz2" presStyleCnt="0"/>
      <dgm:spPr/>
    </dgm:pt>
    <dgm:pt modelId="{D17205AE-0604-9C44-A3E9-C79B470C3A85}" type="pres">
      <dgm:prSet presAssocID="{3FEE7A2B-4999-824E-AC94-EA149D3523D2}" presName="horzSpace2" presStyleCnt="0"/>
      <dgm:spPr/>
    </dgm:pt>
    <dgm:pt modelId="{61512A88-45FB-0D4B-9D95-D8542A6FC623}" type="pres">
      <dgm:prSet presAssocID="{3FEE7A2B-4999-824E-AC94-EA149D3523D2}" presName="tx2" presStyleLbl="revTx" presStyleIdx="2" presStyleCnt="6"/>
      <dgm:spPr/>
    </dgm:pt>
    <dgm:pt modelId="{7163C8FA-3AF4-2F40-B3D3-70732653DC3C}" type="pres">
      <dgm:prSet presAssocID="{3FEE7A2B-4999-824E-AC94-EA149D3523D2}" presName="vert2" presStyleCnt="0"/>
      <dgm:spPr/>
    </dgm:pt>
    <dgm:pt modelId="{BB69D96F-9903-5940-8DD3-FAD778BDBEA8}" type="pres">
      <dgm:prSet presAssocID="{3FEE7A2B-4999-824E-AC94-EA149D3523D2}" presName="thinLine2b" presStyleLbl="callout" presStyleIdx="1" presStyleCnt="4"/>
      <dgm:spPr/>
    </dgm:pt>
    <dgm:pt modelId="{73968926-8226-5E45-8A00-5C8B0006D21B}" type="pres">
      <dgm:prSet presAssocID="{3FEE7A2B-4999-824E-AC94-EA149D3523D2}" presName="vertSpace2b" presStyleCnt="0"/>
      <dgm:spPr/>
    </dgm:pt>
    <dgm:pt modelId="{825B594B-4CAA-7146-AA24-D8D762D39237}" type="pres">
      <dgm:prSet presAssocID="{20E7D8AB-FCE6-BD41-A3F5-9F5CE1A8F549}" presName="thickLine" presStyleLbl="alignNode1" presStyleIdx="1" presStyleCnt="2"/>
      <dgm:spPr/>
    </dgm:pt>
    <dgm:pt modelId="{4DB0A41E-069E-D44B-8AB1-0907B958EE08}" type="pres">
      <dgm:prSet presAssocID="{20E7D8AB-FCE6-BD41-A3F5-9F5CE1A8F549}" presName="horz1" presStyleCnt="0"/>
      <dgm:spPr/>
    </dgm:pt>
    <dgm:pt modelId="{EBB63FF4-924C-0B4E-A232-34849FA42CC0}" type="pres">
      <dgm:prSet presAssocID="{20E7D8AB-FCE6-BD41-A3F5-9F5CE1A8F549}" presName="tx1" presStyleLbl="revTx" presStyleIdx="3" presStyleCnt="6"/>
      <dgm:spPr/>
    </dgm:pt>
    <dgm:pt modelId="{4BBAED56-1B76-A541-B71E-74A89BA8E264}" type="pres">
      <dgm:prSet presAssocID="{20E7D8AB-FCE6-BD41-A3F5-9F5CE1A8F549}" presName="vert1" presStyleCnt="0"/>
      <dgm:spPr/>
    </dgm:pt>
    <dgm:pt modelId="{66D25797-5D31-0941-A7CF-0AEB912B24AD}" type="pres">
      <dgm:prSet presAssocID="{2624F628-459C-2340-8E0C-40CE855A070F}" presName="vertSpace2a" presStyleCnt="0"/>
      <dgm:spPr/>
    </dgm:pt>
    <dgm:pt modelId="{48E233BA-7AEE-2849-A9B4-8549FB9F94B1}" type="pres">
      <dgm:prSet presAssocID="{2624F628-459C-2340-8E0C-40CE855A070F}" presName="horz2" presStyleCnt="0"/>
      <dgm:spPr/>
    </dgm:pt>
    <dgm:pt modelId="{E530012A-C53C-6045-9C74-08FF5321E791}" type="pres">
      <dgm:prSet presAssocID="{2624F628-459C-2340-8E0C-40CE855A070F}" presName="horzSpace2" presStyleCnt="0"/>
      <dgm:spPr/>
    </dgm:pt>
    <dgm:pt modelId="{F78B847B-5FDB-0541-B1A2-F3CA1B19C7B1}" type="pres">
      <dgm:prSet presAssocID="{2624F628-459C-2340-8E0C-40CE855A070F}" presName="tx2" presStyleLbl="revTx" presStyleIdx="4" presStyleCnt="6"/>
      <dgm:spPr/>
    </dgm:pt>
    <dgm:pt modelId="{D3153B72-C897-A944-9496-42EC4D5AB7C8}" type="pres">
      <dgm:prSet presAssocID="{2624F628-459C-2340-8E0C-40CE855A070F}" presName="vert2" presStyleCnt="0"/>
      <dgm:spPr/>
    </dgm:pt>
    <dgm:pt modelId="{832A7E8E-6DE2-FF43-BFA2-CC80266EC572}" type="pres">
      <dgm:prSet presAssocID="{2624F628-459C-2340-8E0C-40CE855A070F}" presName="thinLine2b" presStyleLbl="callout" presStyleIdx="2" presStyleCnt="4"/>
      <dgm:spPr/>
    </dgm:pt>
    <dgm:pt modelId="{9DA3F6A6-72FB-BF45-8283-6519122172BC}" type="pres">
      <dgm:prSet presAssocID="{2624F628-459C-2340-8E0C-40CE855A070F}" presName="vertSpace2b" presStyleCnt="0"/>
      <dgm:spPr/>
    </dgm:pt>
    <dgm:pt modelId="{76C41011-9A21-0D43-A549-EEE4C5725FDF}" type="pres">
      <dgm:prSet presAssocID="{852E7222-C471-6947-9164-41EFFFF69A95}" presName="horz2" presStyleCnt="0"/>
      <dgm:spPr/>
    </dgm:pt>
    <dgm:pt modelId="{142D59EF-9055-8948-8D89-88A0793062C3}" type="pres">
      <dgm:prSet presAssocID="{852E7222-C471-6947-9164-41EFFFF69A95}" presName="horzSpace2" presStyleCnt="0"/>
      <dgm:spPr/>
    </dgm:pt>
    <dgm:pt modelId="{7A343DD1-4340-7146-A756-9EE5305E22DF}" type="pres">
      <dgm:prSet presAssocID="{852E7222-C471-6947-9164-41EFFFF69A95}" presName="tx2" presStyleLbl="revTx" presStyleIdx="5" presStyleCnt="6"/>
      <dgm:spPr/>
    </dgm:pt>
    <dgm:pt modelId="{A005FA71-A686-A14A-A89F-4CAEF69FC06A}" type="pres">
      <dgm:prSet presAssocID="{852E7222-C471-6947-9164-41EFFFF69A95}" presName="vert2" presStyleCnt="0"/>
      <dgm:spPr/>
    </dgm:pt>
    <dgm:pt modelId="{7E37D2E0-F81D-F547-B5E9-B8E04030A8E1}" type="pres">
      <dgm:prSet presAssocID="{852E7222-C471-6947-9164-41EFFFF69A95}" presName="thinLine2b" presStyleLbl="callout" presStyleIdx="3" presStyleCnt="4"/>
      <dgm:spPr/>
    </dgm:pt>
    <dgm:pt modelId="{0AE99B31-97DB-D847-9EDA-AB36F6B783DA}" type="pres">
      <dgm:prSet presAssocID="{852E7222-C471-6947-9164-41EFFFF69A95}" presName="vertSpace2b" presStyleCnt="0"/>
      <dgm:spPr/>
    </dgm:pt>
  </dgm:ptLst>
  <dgm:cxnLst>
    <dgm:cxn modelId="{C8BF1404-11AF-480F-8668-46368F1D8C9B}" srcId="{7BC2DB20-EFFD-4E7B-93C1-553BACDC4218}" destId="{5CB291CD-C87A-4E73-A31F-A5E8DC48EC04}" srcOrd="0" destOrd="0" parTransId="{E99F5492-A06F-4526-99D6-3D5D0DAAB8D2}" sibTransId="{EB8001B5-1F3F-4B4C-99B7-5E44380F79E6}"/>
    <dgm:cxn modelId="{340EA31E-ECCD-9B44-85EB-BFA00FD2CEA7}" srcId="{20E7D8AB-FCE6-BD41-A3F5-9F5CE1A8F549}" destId="{852E7222-C471-6947-9164-41EFFFF69A95}" srcOrd="1" destOrd="0" parTransId="{19B21667-5BC1-BB47-8046-78D6BD3F714D}" sibTransId="{404C5A82-53AD-044D-958A-D61BCCEAE885}"/>
    <dgm:cxn modelId="{744AD923-5AC2-FF44-BF5A-4DA3DAC38D6E}" srcId="{5CB291CD-C87A-4E73-A31F-A5E8DC48EC04}" destId="{36563EE1-3303-2E4E-95E5-5B45720A99FB}" srcOrd="0" destOrd="0" parTransId="{F10C2558-B2A1-F546-9407-638C3A041175}" sibTransId="{6D3563EE-58B2-384B-82D4-175E1085DD0E}"/>
    <dgm:cxn modelId="{D67B8C37-0611-0E4E-A82A-7D7392A358D2}" type="presOf" srcId="{2624F628-459C-2340-8E0C-40CE855A070F}" destId="{F78B847B-5FDB-0541-B1A2-F3CA1B19C7B1}" srcOrd="0" destOrd="0" presId="urn:microsoft.com/office/officeart/2008/layout/LinedList"/>
    <dgm:cxn modelId="{E4E51140-FA95-554D-9114-28C93DB465DC}" type="presOf" srcId="{852E7222-C471-6947-9164-41EFFFF69A95}" destId="{7A343DD1-4340-7146-A756-9EE5305E22DF}" srcOrd="0" destOrd="0" presId="urn:microsoft.com/office/officeart/2008/layout/LinedList"/>
    <dgm:cxn modelId="{ABB3544E-4C13-3347-949D-3E577D033904}" type="presOf" srcId="{7BC2DB20-EFFD-4E7B-93C1-553BACDC4218}" destId="{14F95EBA-BFE5-3949-B7DA-CCC099726CAB}" srcOrd="0" destOrd="0" presId="urn:microsoft.com/office/officeart/2008/layout/LinedList"/>
    <dgm:cxn modelId="{D734AA67-DC66-5E45-964F-609B1D517A0B}" type="presOf" srcId="{20E7D8AB-FCE6-BD41-A3F5-9F5CE1A8F549}" destId="{EBB63FF4-924C-0B4E-A232-34849FA42CC0}" srcOrd="0" destOrd="0" presId="urn:microsoft.com/office/officeart/2008/layout/LinedList"/>
    <dgm:cxn modelId="{B1E6C37F-ADF1-0149-8455-F457FFA3FB19}" srcId="{20E7D8AB-FCE6-BD41-A3F5-9F5CE1A8F549}" destId="{2624F628-459C-2340-8E0C-40CE855A070F}" srcOrd="0" destOrd="0" parTransId="{AE73DBBE-CD9A-5D4B-B8E0-4E074202C2CC}" sibTransId="{8C1C67B6-0AEF-B748-970C-F062DBE88930}"/>
    <dgm:cxn modelId="{E20BFACB-37AC-114A-A0E6-1B6F41EC5C00}" type="presOf" srcId="{3FEE7A2B-4999-824E-AC94-EA149D3523D2}" destId="{61512A88-45FB-0D4B-9D95-D8542A6FC623}" srcOrd="0" destOrd="0" presId="urn:microsoft.com/office/officeart/2008/layout/LinedList"/>
    <dgm:cxn modelId="{CFF4C8CD-97AB-1D47-B8B4-24C3B4ACCF6B}" type="presOf" srcId="{5CB291CD-C87A-4E73-A31F-A5E8DC48EC04}" destId="{53A052C4-25A7-5941-A535-3249D483223F}" srcOrd="0" destOrd="0" presId="urn:microsoft.com/office/officeart/2008/layout/LinedList"/>
    <dgm:cxn modelId="{0C1FF3E1-1981-F34F-97FD-FBACDA816D5E}" type="presOf" srcId="{36563EE1-3303-2E4E-95E5-5B45720A99FB}" destId="{9602B4E8-F1DA-4F4B-87D6-2F8CE7D718B8}" srcOrd="0" destOrd="0" presId="urn:microsoft.com/office/officeart/2008/layout/LinedList"/>
    <dgm:cxn modelId="{B3E804E9-9FD9-2542-8E95-3BD18D95EA73}" srcId="{7BC2DB20-EFFD-4E7B-93C1-553BACDC4218}" destId="{20E7D8AB-FCE6-BD41-A3F5-9F5CE1A8F549}" srcOrd="1" destOrd="0" parTransId="{F86BE984-3DDD-9543-A75C-AFB105314FE5}" sibTransId="{3C299E17-75F9-DD48-8946-0DFE44336A93}"/>
    <dgm:cxn modelId="{4ED7F6F2-F56F-4F45-880D-17BE41C0D22F}" srcId="{5CB291CD-C87A-4E73-A31F-A5E8DC48EC04}" destId="{3FEE7A2B-4999-824E-AC94-EA149D3523D2}" srcOrd="1" destOrd="0" parTransId="{1CCB9001-7A87-5C43-A98C-474EBA690731}" sibTransId="{8079771B-4889-7D49-9155-D43683E77E96}"/>
    <dgm:cxn modelId="{7301364A-D630-4D44-929B-5E9D11511DE5}" type="presParOf" srcId="{14F95EBA-BFE5-3949-B7DA-CCC099726CAB}" destId="{72ECAA99-9346-2D4B-AA63-D81F4FA0DC5A}" srcOrd="0" destOrd="0" presId="urn:microsoft.com/office/officeart/2008/layout/LinedList"/>
    <dgm:cxn modelId="{F859DC7B-DB9A-B440-8724-1A362634FA5C}" type="presParOf" srcId="{14F95EBA-BFE5-3949-B7DA-CCC099726CAB}" destId="{FE53B671-636B-954A-8EE7-AD141F65B395}" srcOrd="1" destOrd="0" presId="urn:microsoft.com/office/officeart/2008/layout/LinedList"/>
    <dgm:cxn modelId="{0C6BB457-28FD-924A-8F93-A3C97460A916}" type="presParOf" srcId="{FE53B671-636B-954A-8EE7-AD141F65B395}" destId="{53A052C4-25A7-5941-A535-3249D483223F}" srcOrd="0" destOrd="0" presId="urn:microsoft.com/office/officeart/2008/layout/LinedList"/>
    <dgm:cxn modelId="{14C4F30B-19B4-9843-8F27-92AB0F79DF06}" type="presParOf" srcId="{FE53B671-636B-954A-8EE7-AD141F65B395}" destId="{5038003A-A675-8D4F-8C53-9551B2CDA085}" srcOrd="1" destOrd="0" presId="urn:microsoft.com/office/officeart/2008/layout/LinedList"/>
    <dgm:cxn modelId="{3A3DDAF7-398C-D140-ACEE-0F280AD66E73}" type="presParOf" srcId="{5038003A-A675-8D4F-8C53-9551B2CDA085}" destId="{FF203CF8-2F8A-3D49-B8D0-FBBBB21FD66A}" srcOrd="0" destOrd="0" presId="urn:microsoft.com/office/officeart/2008/layout/LinedList"/>
    <dgm:cxn modelId="{79DFF343-0C7C-6D4A-B1BA-1995BEBA2BF5}" type="presParOf" srcId="{5038003A-A675-8D4F-8C53-9551B2CDA085}" destId="{2902159A-09C2-014F-BD45-65D3B0B90DD1}" srcOrd="1" destOrd="0" presId="urn:microsoft.com/office/officeart/2008/layout/LinedList"/>
    <dgm:cxn modelId="{6BF71F64-C4FD-4541-8764-7E44E457A4E3}" type="presParOf" srcId="{2902159A-09C2-014F-BD45-65D3B0B90DD1}" destId="{9E64F871-DA5D-9948-9412-FF88748D1375}" srcOrd="0" destOrd="0" presId="urn:microsoft.com/office/officeart/2008/layout/LinedList"/>
    <dgm:cxn modelId="{57D27413-6F0D-BB40-8260-A2758101DCD1}" type="presParOf" srcId="{2902159A-09C2-014F-BD45-65D3B0B90DD1}" destId="{9602B4E8-F1DA-4F4B-87D6-2F8CE7D718B8}" srcOrd="1" destOrd="0" presId="urn:microsoft.com/office/officeart/2008/layout/LinedList"/>
    <dgm:cxn modelId="{69C66DF0-5543-E347-83DC-921BE7BDDE4D}" type="presParOf" srcId="{2902159A-09C2-014F-BD45-65D3B0B90DD1}" destId="{577E2660-F9FD-1D43-BFAA-36744638D115}" srcOrd="2" destOrd="0" presId="urn:microsoft.com/office/officeart/2008/layout/LinedList"/>
    <dgm:cxn modelId="{E26F2239-2931-F34B-B9FB-80DA14F0F068}" type="presParOf" srcId="{5038003A-A675-8D4F-8C53-9551B2CDA085}" destId="{02A658A8-39FB-B14A-AB70-855693CF36C3}" srcOrd="2" destOrd="0" presId="urn:microsoft.com/office/officeart/2008/layout/LinedList"/>
    <dgm:cxn modelId="{F5BB816E-37EA-B14C-82DA-9878CE04ECCF}" type="presParOf" srcId="{5038003A-A675-8D4F-8C53-9551B2CDA085}" destId="{E9651FF3-5AD2-E243-BBBF-23E8F6C11D2B}" srcOrd="3" destOrd="0" presId="urn:microsoft.com/office/officeart/2008/layout/LinedList"/>
    <dgm:cxn modelId="{887C7984-3222-C449-BAB5-82477089E185}" type="presParOf" srcId="{5038003A-A675-8D4F-8C53-9551B2CDA085}" destId="{43F2169A-10C7-BC49-8BEC-2288838A72F9}" srcOrd="4" destOrd="0" presId="urn:microsoft.com/office/officeart/2008/layout/LinedList"/>
    <dgm:cxn modelId="{0B49453A-9F9D-C24B-BB48-1F24C091AE93}" type="presParOf" srcId="{43F2169A-10C7-BC49-8BEC-2288838A72F9}" destId="{D17205AE-0604-9C44-A3E9-C79B470C3A85}" srcOrd="0" destOrd="0" presId="urn:microsoft.com/office/officeart/2008/layout/LinedList"/>
    <dgm:cxn modelId="{F4A46061-08AE-8048-BD62-50BC1A39D678}" type="presParOf" srcId="{43F2169A-10C7-BC49-8BEC-2288838A72F9}" destId="{61512A88-45FB-0D4B-9D95-D8542A6FC623}" srcOrd="1" destOrd="0" presId="urn:microsoft.com/office/officeart/2008/layout/LinedList"/>
    <dgm:cxn modelId="{8B20667B-2FF7-804C-BCD3-5F8530295318}" type="presParOf" srcId="{43F2169A-10C7-BC49-8BEC-2288838A72F9}" destId="{7163C8FA-3AF4-2F40-B3D3-70732653DC3C}" srcOrd="2" destOrd="0" presId="urn:microsoft.com/office/officeart/2008/layout/LinedList"/>
    <dgm:cxn modelId="{1B1C396C-F1B6-2F41-812E-9A854C8DE196}" type="presParOf" srcId="{5038003A-A675-8D4F-8C53-9551B2CDA085}" destId="{BB69D96F-9903-5940-8DD3-FAD778BDBEA8}" srcOrd="5" destOrd="0" presId="urn:microsoft.com/office/officeart/2008/layout/LinedList"/>
    <dgm:cxn modelId="{88EA696E-11B8-2644-9239-9DA8A3CAC774}" type="presParOf" srcId="{5038003A-A675-8D4F-8C53-9551B2CDA085}" destId="{73968926-8226-5E45-8A00-5C8B0006D21B}" srcOrd="6" destOrd="0" presId="urn:microsoft.com/office/officeart/2008/layout/LinedList"/>
    <dgm:cxn modelId="{8700C8FA-CD3E-2741-B35B-CFCB1425A3E4}" type="presParOf" srcId="{14F95EBA-BFE5-3949-B7DA-CCC099726CAB}" destId="{825B594B-4CAA-7146-AA24-D8D762D39237}" srcOrd="2" destOrd="0" presId="urn:microsoft.com/office/officeart/2008/layout/LinedList"/>
    <dgm:cxn modelId="{39F00659-E97B-1B42-96D6-1490036FAF6A}" type="presParOf" srcId="{14F95EBA-BFE5-3949-B7DA-CCC099726CAB}" destId="{4DB0A41E-069E-D44B-8AB1-0907B958EE08}" srcOrd="3" destOrd="0" presId="urn:microsoft.com/office/officeart/2008/layout/LinedList"/>
    <dgm:cxn modelId="{3055DF43-DFC7-3249-8867-3D2A9C6EF80D}" type="presParOf" srcId="{4DB0A41E-069E-D44B-8AB1-0907B958EE08}" destId="{EBB63FF4-924C-0B4E-A232-34849FA42CC0}" srcOrd="0" destOrd="0" presId="urn:microsoft.com/office/officeart/2008/layout/LinedList"/>
    <dgm:cxn modelId="{6F38204D-ECB3-6E47-AB78-BDDF11F70941}" type="presParOf" srcId="{4DB0A41E-069E-D44B-8AB1-0907B958EE08}" destId="{4BBAED56-1B76-A541-B71E-74A89BA8E264}" srcOrd="1" destOrd="0" presId="urn:microsoft.com/office/officeart/2008/layout/LinedList"/>
    <dgm:cxn modelId="{87C2FE7A-EA8E-9946-8688-A53EF9CEF363}" type="presParOf" srcId="{4BBAED56-1B76-A541-B71E-74A89BA8E264}" destId="{66D25797-5D31-0941-A7CF-0AEB912B24AD}" srcOrd="0" destOrd="0" presId="urn:microsoft.com/office/officeart/2008/layout/LinedList"/>
    <dgm:cxn modelId="{A8A1AE99-449B-3D4B-ACC9-FF221CBBC46E}" type="presParOf" srcId="{4BBAED56-1B76-A541-B71E-74A89BA8E264}" destId="{48E233BA-7AEE-2849-A9B4-8549FB9F94B1}" srcOrd="1" destOrd="0" presId="urn:microsoft.com/office/officeart/2008/layout/LinedList"/>
    <dgm:cxn modelId="{9F899DD6-B7F8-0C4F-ACF2-F259C44D10E1}" type="presParOf" srcId="{48E233BA-7AEE-2849-A9B4-8549FB9F94B1}" destId="{E530012A-C53C-6045-9C74-08FF5321E791}" srcOrd="0" destOrd="0" presId="urn:microsoft.com/office/officeart/2008/layout/LinedList"/>
    <dgm:cxn modelId="{F60C42AD-A84A-4B4B-AAB3-F8A51FFC6A86}" type="presParOf" srcId="{48E233BA-7AEE-2849-A9B4-8549FB9F94B1}" destId="{F78B847B-5FDB-0541-B1A2-F3CA1B19C7B1}" srcOrd="1" destOrd="0" presId="urn:microsoft.com/office/officeart/2008/layout/LinedList"/>
    <dgm:cxn modelId="{87E027A2-865F-3A45-AF5B-C71370E97DA6}" type="presParOf" srcId="{48E233BA-7AEE-2849-A9B4-8549FB9F94B1}" destId="{D3153B72-C897-A944-9496-42EC4D5AB7C8}" srcOrd="2" destOrd="0" presId="urn:microsoft.com/office/officeart/2008/layout/LinedList"/>
    <dgm:cxn modelId="{7688F2DB-A735-3548-9172-51CB60D06032}" type="presParOf" srcId="{4BBAED56-1B76-A541-B71E-74A89BA8E264}" destId="{832A7E8E-6DE2-FF43-BFA2-CC80266EC572}" srcOrd="2" destOrd="0" presId="urn:microsoft.com/office/officeart/2008/layout/LinedList"/>
    <dgm:cxn modelId="{40AFC823-40F5-3E4F-9B39-114A4FCAC6BA}" type="presParOf" srcId="{4BBAED56-1B76-A541-B71E-74A89BA8E264}" destId="{9DA3F6A6-72FB-BF45-8283-6519122172BC}" srcOrd="3" destOrd="0" presId="urn:microsoft.com/office/officeart/2008/layout/LinedList"/>
    <dgm:cxn modelId="{EBE5C6DB-AC7B-BA48-85A6-A007760BEC85}" type="presParOf" srcId="{4BBAED56-1B76-A541-B71E-74A89BA8E264}" destId="{76C41011-9A21-0D43-A549-EEE4C5725FDF}" srcOrd="4" destOrd="0" presId="urn:microsoft.com/office/officeart/2008/layout/LinedList"/>
    <dgm:cxn modelId="{DBCBD25A-4AB3-0A49-B74F-613CAB4C1CA7}" type="presParOf" srcId="{76C41011-9A21-0D43-A549-EEE4C5725FDF}" destId="{142D59EF-9055-8948-8D89-88A0793062C3}" srcOrd="0" destOrd="0" presId="urn:microsoft.com/office/officeart/2008/layout/LinedList"/>
    <dgm:cxn modelId="{FC3F9FE3-E6DF-524D-9BE3-3DAAB4BABD7B}" type="presParOf" srcId="{76C41011-9A21-0D43-A549-EEE4C5725FDF}" destId="{7A343DD1-4340-7146-A756-9EE5305E22DF}" srcOrd="1" destOrd="0" presId="urn:microsoft.com/office/officeart/2008/layout/LinedList"/>
    <dgm:cxn modelId="{EC0A93EF-5020-A54C-8115-1051DF863D31}" type="presParOf" srcId="{76C41011-9A21-0D43-A549-EEE4C5725FDF}" destId="{A005FA71-A686-A14A-A89F-4CAEF69FC06A}" srcOrd="2" destOrd="0" presId="urn:microsoft.com/office/officeart/2008/layout/LinedList"/>
    <dgm:cxn modelId="{3D090197-41C0-A946-9026-36E072898AF6}" type="presParOf" srcId="{4BBAED56-1B76-A541-B71E-74A89BA8E264}" destId="{7E37D2E0-F81D-F547-B5E9-B8E04030A8E1}" srcOrd="5" destOrd="0" presId="urn:microsoft.com/office/officeart/2008/layout/LinedList"/>
    <dgm:cxn modelId="{CA663A76-B68F-5F4C-82F1-7FB215439350}" type="presParOf" srcId="{4BBAED56-1B76-A541-B71E-74A89BA8E264}" destId="{0AE99B31-97DB-D847-9EDA-AB36F6B783DA}" srcOrd="6"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02BA0D8E-884F-D545-BFF7-95207C181DAB}" type="doc">
      <dgm:prSet loTypeId="urn:microsoft.com/office/officeart/2008/layout/LinedList" loCatId=""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File creation warnings</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C8A9BCB3-602F-FC4A-9626-FAF506510228}">
      <dgm:prSet/>
      <dgm:spPr/>
      <dgm:t>
        <a:bodyPr/>
        <a:lstStyle/>
        <a:p>
          <a:pPr rtl="0"/>
          <a:r>
            <a:rPr lang="en-CA" dirty="0"/>
            <a:t>Client status locking</a:t>
          </a:r>
        </a:p>
      </dgm:t>
    </dgm:pt>
    <dgm:pt modelId="{0B803AD3-6C2C-FE47-9803-37C40BE4582E}" type="parTrans" cxnId="{56EF0DD2-1AD6-AC4D-8684-479C4202D190}">
      <dgm:prSet/>
      <dgm:spPr/>
      <dgm:t>
        <a:bodyPr/>
        <a:lstStyle/>
        <a:p>
          <a:endParaRPr lang="en-CA"/>
        </a:p>
      </dgm:t>
    </dgm:pt>
    <dgm:pt modelId="{8C959BF5-5ADE-2F4A-B433-E7E671FD26BE}" type="sibTrans" cxnId="{56EF0DD2-1AD6-AC4D-8684-479C4202D190}">
      <dgm:prSet/>
      <dgm:spPr/>
      <dgm:t>
        <a:bodyPr/>
        <a:lstStyle/>
        <a:p>
          <a:endParaRPr lang="en-CA"/>
        </a:p>
      </dgm:t>
    </dgm:pt>
    <dgm:pt modelId="{32474BBC-88A0-1C44-A18F-4CF150105D86}">
      <dgm:prSet/>
      <dgm:spPr/>
      <dgm:t>
        <a:bodyPr/>
        <a:lstStyle/>
        <a:p>
          <a:pPr rtl="0"/>
          <a:r>
            <a:rPr lang="en-CA" dirty="0"/>
            <a:t>EFILE status locking</a:t>
          </a:r>
        </a:p>
      </dgm:t>
    </dgm:pt>
    <dgm:pt modelId="{17ECB415-8A09-024D-8509-6756546607A6}" type="parTrans" cxnId="{D5B1A383-B17E-5F45-AF81-5850EB7482C1}">
      <dgm:prSet/>
      <dgm:spPr/>
      <dgm:t>
        <a:bodyPr/>
        <a:lstStyle/>
        <a:p>
          <a:endParaRPr lang="en-CA"/>
        </a:p>
      </dgm:t>
    </dgm:pt>
    <dgm:pt modelId="{4EC9D627-09BB-8F44-96E5-1099EC0F8D41}" type="sibTrans" cxnId="{D5B1A383-B17E-5F45-AF81-5850EB7482C1}">
      <dgm:prSet/>
      <dgm:spPr/>
      <dgm:t>
        <a:bodyPr/>
        <a:lstStyle/>
        <a:p>
          <a:endParaRPr lang="en-CA"/>
        </a:p>
      </dgm:t>
    </dgm:pt>
    <dgm:pt modelId="{D8566B1A-B691-0C43-90A5-2D92C3029656}" type="pres">
      <dgm:prSet presAssocID="{02BA0D8E-884F-D545-BFF7-95207C181DAB}" presName="vert0" presStyleCnt="0">
        <dgm:presLayoutVars>
          <dgm:dir/>
          <dgm:animOne val="branch"/>
          <dgm:animLvl val="lvl"/>
        </dgm:presLayoutVars>
      </dgm:prSet>
      <dgm:spPr/>
    </dgm:pt>
    <dgm:pt modelId="{2E4FD788-38BE-AE46-BF43-EFB67954B1F0}" type="pres">
      <dgm:prSet presAssocID="{CF0461F7-EC97-BB41-A574-9C1E3009EACC}" presName="thickLine" presStyleLbl="alignNode1" presStyleIdx="0" presStyleCnt="3"/>
      <dgm:spPr/>
    </dgm:pt>
    <dgm:pt modelId="{7AB816CE-3320-6A45-9743-84ECB42F7ED6}" type="pres">
      <dgm:prSet presAssocID="{CF0461F7-EC97-BB41-A574-9C1E3009EACC}" presName="horz1" presStyleCnt="0"/>
      <dgm:spPr/>
    </dgm:pt>
    <dgm:pt modelId="{DA5B13BF-EE27-6C4B-8DAF-08E21492CE70}" type="pres">
      <dgm:prSet presAssocID="{CF0461F7-EC97-BB41-A574-9C1E3009EACC}" presName="tx1" presStyleLbl="revTx" presStyleIdx="0" presStyleCnt="3"/>
      <dgm:spPr/>
    </dgm:pt>
    <dgm:pt modelId="{C242D647-8894-7047-9E38-6AF4AF75BE01}" type="pres">
      <dgm:prSet presAssocID="{CF0461F7-EC97-BB41-A574-9C1E3009EACC}" presName="vert1" presStyleCnt="0"/>
      <dgm:spPr/>
    </dgm:pt>
    <dgm:pt modelId="{2005B60A-3919-2447-8181-556AD7EDEFDD}" type="pres">
      <dgm:prSet presAssocID="{C8A9BCB3-602F-FC4A-9626-FAF506510228}" presName="thickLine" presStyleLbl="alignNode1" presStyleIdx="1" presStyleCnt="3"/>
      <dgm:spPr/>
    </dgm:pt>
    <dgm:pt modelId="{45759A2C-7AE3-A241-8A17-2101AFE26B0F}" type="pres">
      <dgm:prSet presAssocID="{C8A9BCB3-602F-FC4A-9626-FAF506510228}" presName="horz1" presStyleCnt="0"/>
      <dgm:spPr/>
    </dgm:pt>
    <dgm:pt modelId="{B2E3E964-BA1C-7643-877C-F572E5701DD1}" type="pres">
      <dgm:prSet presAssocID="{C8A9BCB3-602F-FC4A-9626-FAF506510228}" presName="tx1" presStyleLbl="revTx" presStyleIdx="1" presStyleCnt="3"/>
      <dgm:spPr/>
    </dgm:pt>
    <dgm:pt modelId="{7BFF614A-D268-9648-87B1-6AD29CF34A5D}" type="pres">
      <dgm:prSet presAssocID="{C8A9BCB3-602F-FC4A-9626-FAF506510228}" presName="vert1" presStyleCnt="0"/>
      <dgm:spPr/>
    </dgm:pt>
    <dgm:pt modelId="{92292984-DFB7-2F42-875D-A343BE458513}" type="pres">
      <dgm:prSet presAssocID="{32474BBC-88A0-1C44-A18F-4CF150105D86}" presName="thickLine" presStyleLbl="alignNode1" presStyleIdx="2" presStyleCnt="3"/>
      <dgm:spPr/>
    </dgm:pt>
    <dgm:pt modelId="{31E6E4A0-E519-A248-9DFE-6260FF1F5796}" type="pres">
      <dgm:prSet presAssocID="{32474BBC-88A0-1C44-A18F-4CF150105D86}" presName="horz1" presStyleCnt="0"/>
      <dgm:spPr/>
    </dgm:pt>
    <dgm:pt modelId="{79455BCE-7746-AF4E-AEEA-DE3985F3EF9E}" type="pres">
      <dgm:prSet presAssocID="{32474BBC-88A0-1C44-A18F-4CF150105D86}" presName="tx1" presStyleLbl="revTx" presStyleIdx="2" presStyleCnt="3"/>
      <dgm:spPr/>
    </dgm:pt>
    <dgm:pt modelId="{952E0414-E1BC-2044-8703-14D0CBDEAB6B}" type="pres">
      <dgm:prSet presAssocID="{32474BBC-88A0-1C44-A18F-4CF150105D86}" presName="vert1" presStyleCnt="0"/>
      <dgm:spPr/>
    </dgm:pt>
  </dgm:ptLst>
  <dgm:cxnLst>
    <dgm:cxn modelId="{12D95C2C-B3A3-AE4E-ADC2-CC101EE45C62}" type="presOf" srcId="{CF0461F7-EC97-BB41-A574-9C1E3009EACC}" destId="{DA5B13BF-EE27-6C4B-8DAF-08E21492CE70}" srcOrd="0" destOrd="0" presId="urn:microsoft.com/office/officeart/2008/layout/LinedList"/>
    <dgm:cxn modelId="{EEB3FC44-4307-DF43-B251-426D88890123}" type="presOf" srcId="{02BA0D8E-884F-D545-BFF7-95207C181DAB}" destId="{D8566B1A-B691-0C43-90A5-2D92C3029656}" srcOrd="0" destOrd="0" presId="urn:microsoft.com/office/officeart/2008/layout/LinedList"/>
    <dgm:cxn modelId="{D648336E-0862-AA4F-991C-C6CC1FC7FAFA}" type="presOf" srcId="{C8A9BCB3-602F-FC4A-9626-FAF506510228}" destId="{B2E3E964-BA1C-7643-877C-F572E5701DD1}" srcOrd="0" destOrd="0" presId="urn:microsoft.com/office/officeart/2008/layout/LinedList"/>
    <dgm:cxn modelId="{D5B1A383-B17E-5F45-AF81-5850EB7482C1}" srcId="{02BA0D8E-884F-D545-BFF7-95207C181DAB}" destId="{32474BBC-88A0-1C44-A18F-4CF150105D86}" srcOrd="2" destOrd="0" parTransId="{17ECB415-8A09-024D-8509-6756546607A6}" sibTransId="{4EC9D627-09BB-8F44-96E5-1099EC0F8D41}"/>
    <dgm:cxn modelId="{674D6C8A-30E6-564D-9142-120BB4D947A9}" srcId="{02BA0D8E-884F-D545-BFF7-95207C181DAB}" destId="{CF0461F7-EC97-BB41-A574-9C1E3009EACC}" srcOrd="0" destOrd="0" parTransId="{B2C709E6-0566-4D4E-97EA-2EBE699D701F}" sibTransId="{ABC1C475-5434-1B41-BC48-ADC728C8CBF7}"/>
    <dgm:cxn modelId="{7309A9A0-6257-3F44-97A1-9C92B9711CED}" type="presOf" srcId="{32474BBC-88A0-1C44-A18F-4CF150105D86}" destId="{79455BCE-7746-AF4E-AEEA-DE3985F3EF9E}" srcOrd="0" destOrd="0" presId="urn:microsoft.com/office/officeart/2008/layout/LinedList"/>
    <dgm:cxn modelId="{56EF0DD2-1AD6-AC4D-8684-479C4202D190}" srcId="{02BA0D8E-884F-D545-BFF7-95207C181DAB}" destId="{C8A9BCB3-602F-FC4A-9626-FAF506510228}" srcOrd="1" destOrd="0" parTransId="{0B803AD3-6C2C-FE47-9803-37C40BE4582E}" sibTransId="{8C959BF5-5ADE-2F4A-B433-E7E671FD26BE}"/>
    <dgm:cxn modelId="{2F74F24A-F59F-294F-8A8F-5B7E616404CA}" type="presParOf" srcId="{D8566B1A-B691-0C43-90A5-2D92C3029656}" destId="{2E4FD788-38BE-AE46-BF43-EFB67954B1F0}" srcOrd="0" destOrd="0" presId="urn:microsoft.com/office/officeart/2008/layout/LinedList"/>
    <dgm:cxn modelId="{D992CE59-D5EC-7C42-B7CC-3E7A6101FAE4}" type="presParOf" srcId="{D8566B1A-B691-0C43-90A5-2D92C3029656}" destId="{7AB816CE-3320-6A45-9743-84ECB42F7ED6}" srcOrd="1" destOrd="0" presId="urn:microsoft.com/office/officeart/2008/layout/LinedList"/>
    <dgm:cxn modelId="{322F07E0-2396-0C41-83F0-625E0D5430A2}" type="presParOf" srcId="{7AB816CE-3320-6A45-9743-84ECB42F7ED6}" destId="{DA5B13BF-EE27-6C4B-8DAF-08E21492CE70}" srcOrd="0" destOrd="0" presId="urn:microsoft.com/office/officeart/2008/layout/LinedList"/>
    <dgm:cxn modelId="{7C20188F-FCFF-144D-A39E-0966ED2F54DD}" type="presParOf" srcId="{7AB816CE-3320-6A45-9743-84ECB42F7ED6}" destId="{C242D647-8894-7047-9E38-6AF4AF75BE01}" srcOrd="1" destOrd="0" presId="urn:microsoft.com/office/officeart/2008/layout/LinedList"/>
    <dgm:cxn modelId="{F2665C96-D7FF-D840-92EB-0C63CDB1209F}" type="presParOf" srcId="{D8566B1A-B691-0C43-90A5-2D92C3029656}" destId="{2005B60A-3919-2447-8181-556AD7EDEFDD}" srcOrd="2" destOrd="0" presId="urn:microsoft.com/office/officeart/2008/layout/LinedList"/>
    <dgm:cxn modelId="{771D47D4-4070-4641-91B7-4621A9C301B2}" type="presParOf" srcId="{D8566B1A-B691-0C43-90A5-2D92C3029656}" destId="{45759A2C-7AE3-A241-8A17-2101AFE26B0F}" srcOrd="3" destOrd="0" presId="urn:microsoft.com/office/officeart/2008/layout/LinedList"/>
    <dgm:cxn modelId="{BE2086A5-56CA-6A49-A071-C4C3B213B005}" type="presParOf" srcId="{45759A2C-7AE3-A241-8A17-2101AFE26B0F}" destId="{B2E3E964-BA1C-7643-877C-F572E5701DD1}" srcOrd="0" destOrd="0" presId="urn:microsoft.com/office/officeart/2008/layout/LinedList"/>
    <dgm:cxn modelId="{A8657761-71FC-BE42-AA86-803E9ED1E92C}" type="presParOf" srcId="{45759A2C-7AE3-A241-8A17-2101AFE26B0F}" destId="{7BFF614A-D268-9648-87B1-6AD29CF34A5D}" srcOrd="1" destOrd="0" presId="urn:microsoft.com/office/officeart/2008/layout/LinedList"/>
    <dgm:cxn modelId="{3CCE17A6-573A-064D-AF8D-4694A975F170}" type="presParOf" srcId="{D8566B1A-B691-0C43-90A5-2D92C3029656}" destId="{92292984-DFB7-2F42-875D-A343BE458513}" srcOrd="4" destOrd="0" presId="urn:microsoft.com/office/officeart/2008/layout/LinedList"/>
    <dgm:cxn modelId="{E8569266-70D3-2C42-9CE1-8E96A7504BEF}" type="presParOf" srcId="{D8566B1A-B691-0C43-90A5-2D92C3029656}" destId="{31E6E4A0-E519-A248-9DFE-6260FF1F5796}" srcOrd="5" destOrd="0" presId="urn:microsoft.com/office/officeart/2008/layout/LinedList"/>
    <dgm:cxn modelId="{0935A668-30D0-7048-9249-F6DFAA7C6478}" type="presParOf" srcId="{31E6E4A0-E519-A248-9DFE-6260FF1F5796}" destId="{79455BCE-7746-AF4E-AEEA-DE3985F3EF9E}" srcOrd="0" destOrd="0" presId="urn:microsoft.com/office/officeart/2008/layout/LinedList"/>
    <dgm:cxn modelId="{AE06428C-5965-1F41-BF81-9BE4BA39E13A}" type="presParOf" srcId="{31E6E4A0-E519-A248-9DFE-6260FF1F5796}" destId="{952E0414-E1BC-2044-8703-14D0CBDEAB6B}"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22</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4FFAC7B5-2E4E-1249-AEB9-DE0398EE49DC}" type="presOf" srcId="{5D62F0D9-F62E-470E-86C1-99BBA8E85072}" destId="{8A46F5DD-BBB3-4FA2-8F4F-67830FF58BA8}" srcOrd="0" destOrd="0" presId="urn:microsoft.com/office/officeart/2005/8/layout/cycle2"/>
    <dgm:cxn modelId="{D5DD39CA-4EBF-BC40-863A-66489A9D0E36}" type="presOf" srcId="{9DF463DA-C321-47BB-A748-44B5D722BDE4}" destId="{03D7DCAF-0535-410C-B056-000B4ED11701}"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3E66A321-B21E-1A47-AF08-9DFA7C329DF9}"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02BA0D8E-884F-D545-BFF7-95207C181DAB}" type="doc">
      <dgm:prSet loTypeId="urn:microsoft.com/office/officeart/2008/layout/LinedList" loCatId=""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Standard disclaimer</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C8A9BCB3-602F-FC4A-9626-FAF506510228}">
      <dgm:prSet/>
      <dgm:spPr/>
      <dgm:t>
        <a:bodyPr/>
        <a:lstStyle/>
        <a:p>
          <a:pPr rtl="0"/>
          <a:r>
            <a:rPr lang="en-CA" dirty="0"/>
            <a:t>Business disclaimer</a:t>
          </a:r>
        </a:p>
      </dgm:t>
    </dgm:pt>
    <dgm:pt modelId="{0B803AD3-6C2C-FE47-9803-37C40BE4582E}" type="parTrans" cxnId="{56EF0DD2-1AD6-AC4D-8684-479C4202D190}">
      <dgm:prSet/>
      <dgm:spPr/>
      <dgm:t>
        <a:bodyPr/>
        <a:lstStyle/>
        <a:p>
          <a:endParaRPr lang="en-CA"/>
        </a:p>
      </dgm:t>
    </dgm:pt>
    <dgm:pt modelId="{8C959BF5-5ADE-2F4A-B433-E7E671FD26BE}" type="sibTrans" cxnId="{56EF0DD2-1AD6-AC4D-8684-479C4202D190}">
      <dgm:prSet/>
      <dgm:spPr/>
      <dgm:t>
        <a:bodyPr/>
        <a:lstStyle/>
        <a:p>
          <a:endParaRPr lang="en-CA"/>
        </a:p>
      </dgm:t>
    </dgm:pt>
    <dgm:pt modelId="{1659FF9F-E4A3-3943-897B-2A0723BA0958}" type="pres">
      <dgm:prSet presAssocID="{02BA0D8E-884F-D545-BFF7-95207C181DAB}" presName="vert0" presStyleCnt="0">
        <dgm:presLayoutVars>
          <dgm:dir/>
          <dgm:animOne val="branch"/>
          <dgm:animLvl val="lvl"/>
        </dgm:presLayoutVars>
      </dgm:prSet>
      <dgm:spPr/>
    </dgm:pt>
    <dgm:pt modelId="{F40AD4AC-326F-DD44-A852-57EADD4BF912}" type="pres">
      <dgm:prSet presAssocID="{CF0461F7-EC97-BB41-A574-9C1E3009EACC}" presName="thickLine" presStyleLbl="alignNode1" presStyleIdx="0" presStyleCnt="2"/>
      <dgm:spPr/>
    </dgm:pt>
    <dgm:pt modelId="{843FD2E3-F92B-DA4A-9482-74E56FA8B3B8}" type="pres">
      <dgm:prSet presAssocID="{CF0461F7-EC97-BB41-A574-9C1E3009EACC}" presName="horz1" presStyleCnt="0"/>
      <dgm:spPr/>
    </dgm:pt>
    <dgm:pt modelId="{B53EED02-E5AD-084A-BFC0-1A1E83F5CE0D}" type="pres">
      <dgm:prSet presAssocID="{CF0461F7-EC97-BB41-A574-9C1E3009EACC}" presName="tx1" presStyleLbl="revTx" presStyleIdx="0" presStyleCnt="2"/>
      <dgm:spPr/>
    </dgm:pt>
    <dgm:pt modelId="{63D64207-2CCE-EA4D-9056-4A7FF68B0902}" type="pres">
      <dgm:prSet presAssocID="{CF0461F7-EC97-BB41-A574-9C1E3009EACC}" presName="vert1" presStyleCnt="0"/>
      <dgm:spPr/>
    </dgm:pt>
    <dgm:pt modelId="{F6EDED4E-A7F9-C14F-8BCF-654DDB0D9F93}" type="pres">
      <dgm:prSet presAssocID="{C8A9BCB3-602F-FC4A-9626-FAF506510228}" presName="thickLine" presStyleLbl="alignNode1" presStyleIdx="1" presStyleCnt="2"/>
      <dgm:spPr/>
    </dgm:pt>
    <dgm:pt modelId="{DF2012D1-24C0-1840-B6CB-FDA2C31DC04F}" type="pres">
      <dgm:prSet presAssocID="{C8A9BCB3-602F-FC4A-9626-FAF506510228}" presName="horz1" presStyleCnt="0"/>
      <dgm:spPr/>
    </dgm:pt>
    <dgm:pt modelId="{B071FF6D-D083-5E44-BB54-10D70B88B6C7}" type="pres">
      <dgm:prSet presAssocID="{C8A9BCB3-602F-FC4A-9626-FAF506510228}" presName="tx1" presStyleLbl="revTx" presStyleIdx="1" presStyleCnt="2"/>
      <dgm:spPr/>
    </dgm:pt>
    <dgm:pt modelId="{D817DFE1-EEEE-F343-9372-BE8232E4BD82}" type="pres">
      <dgm:prSet presAssocID="{C8A9BCB3-602F-FC4A-9626-FAF506510228}" presName="vert1" presStyleCnt="0"/>
      <dgm:spPr/>
    </dgm:pt>
  </dgm:ptLst>
  <dgm:cxnLst>
    <dgm:cxn modelId="{8D85D43C-443B-7E46-9DCA-7AE7594A0F9F}" type="presOf" srcId="{CF0461F7-EC97-BB41-A574-9C1E3009EACC}" destId="{B53EED02-E5AD-084A-BFC0-1A1E83F5CE0D}" srcOrd="0" destOrd="0" presId="urn:microsoft.com/office/officeart/2008/layout/LinedList"/>
    <dgm:cxn modelId="{A0CDA75C-BBB2-924D-8506-CA6C749F5837}" type="presOf" srcId="{C8A9BCB3-602F-FC4A-9626-FAF506510228}" destId="{B071FF6D-D083-5E44-BB54-10D70B88B6C7}" srcOrd="0" destOrd="0" presId="urn:microsoft.com/office/officeart/2008/layout/LinedList"/>
    <dgm:cxn modelId="{674D6C8A-30E6-564D-9142-120BB4D947A9}" srcId="{02BA0D8E-884F-D545-BFF7-95207C181DAB}" destId="{CF0461F7-EC97-BB41-A574-9C1E3009EACC}" srcOrd="0" destOrd="0" parTransId="{B2C709E6-0566-4D4E-97EA-2EBE699D701F}" sibTransId="{ABC1C475-5434-1B41-BC48-ADC728C8CBF7}"/>
    <dgm:cxn modelId="{73F0C1CD-2ED7-8F41-BEDD-2F478492D120}" type="presOf" srcId="{02BA0D8E-884F-D545-BFF7-95207C181DAB}" destId="{1659FF9F-E4A3-3943-897B-2A0723BA0958}" srcOrd="0" destOrd="0" presId="urn:microsoft.com/office/officeart/2008/layout/LinedList"/>
    <dgm:cxn modelId="{56EF0DD2-1AD6-AC4D-8684-479C4202D190}" srcId="{02BA0D8E-884F-D545-BFF7-95207C181DAB}" destId="{C8A9BCB3-602F-FC4A-9626-FAF506510228}" srcOrd="1" destOrd="0" parTransId="{0B803AD3-6C2C-FE47-9803-37C40BE4582E}" sibTransId="{8C959BF5-5ADE-2F4A-B433-E7E671FD26BE}"/>
    <dgm:cxn modelId="{43C53F43-99D0-CB46-AE32-97F4F7FA4ADC}" type="presParOf" srcId="{1659FF9F-E4A3-3943-897B-2A0723BA0958}" destId="{F40AD4AC-326F-DD44-A852-57EADD4BF912}" srcOrd="0" destOrd="0" presId="urn:microsoft.com/office/officeart/2008/layout/LinedList"/>
    <dgm:cxn modelId="{7A631A7B-2B61-ED42-AE93-E0338C4E235F}" type="presParOf" srcId="{1659FF9F-E4A3-3943-897B-2A0723BA0958}" destId="{843FD2E3-F92B-DA4A-9482-74E56FA8B3B8}" srcOrd="1" destOrd="0" presId="urn:microsoft.com/office/officeart/2008/layout/LinedList"/>
    <dgm:cxn modelId="{7D5A2FAF-59B8-F643-8917-3DB11E278255}" type="presParOf" srcId="{843FD2E3-F92B-DA4A-9482-74E56FA8B3B8}" destId="{B53EED02-E5AD-084A-BFC0-1A1E83F5CE0D}" srcOrd="0" destOrd="0" presId="urn:microsoft.com/office/officeart/2008/layout/LinedList"/>
    <dgm:cxn modelId="{ECF3F5A8-3918-914C-AD86-9ED8F9FF69A8}" type="presParOf" srcId="{843FD2E3-F92B-DA4A-9482-74E56FA8B3B8}" destId="{63D64207-2CCE-EA4D-9056-4A7FF68B0902}" srcOrd="1" destOrd="0" presId="urn:microsoft.com/office/officeart/2008/layout/LinedList"/>
    <dgm:cxn modelId="{3FC1B8BD-309F-4E4C-9BEE-8162E6FB3782}" type="presParOf" srcId="{1659FF9F-E4A3-3943-897B-2A0723BA0958}" destId="{F6EDED4E-A7F9-C14F-8BCF-654DDB0D9F93}" srcOrd="2" destOrd="0" presId="urn:microsoft.com/office/officeart/2008/layout/LinedList"/>
    <dgm:cxn modelId="{2FFB9399-C779-9E45-8D74-3E46F9196F86}" type="presParOf" srcId="{1659FF9F-E4A3-3943-897B-2A0723BA0958}" destId="{DF2012D1-24C0-1840-B6CB-FDA2C31DC04F}" srcOrd="3" destOrd="0" presId="urn:microsoft.com/office/officeart/2008/layout/LinedList"/>
    <dgm:cxn modelId="{DB23F863-0F2D-D94D-9885-225E794B5CCC}" type="presParOf" srcId="{DF2012D1-24C0-1840-B6CB-FDA2C31DC04F}" destId="{B071FF6D-D083-5E44-BB54-10D70B88B6C7}" srcOrd="0" destOrd="0" presId="urn:microsoft.com/office/officeart/2008/layout/LinedList"/>
    <dgm:cxn modelId="{15034DCB-190A-F245-BCF6-B9C042B90847}" type="presParOf" srcId="{DF2012D1-24C0-1840-B6CB-FDA2C31DC04F}" destId="{D817DFE1-EEEE-F343-9372-BE8232E4BD82}"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23</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98F9CEB8-16A0-F647-915B-BE8BA8839473}" type="presOf" srcId="{9DF463DA-C321-47BB-A748-44B5D722BDE4}" destId="{03D7DCAF-0535-410C-B056-000B4ED11701}" srcOrd="0" destOrd="0" presId="urn:microsoft.com/office/officeart/2005/8/layout/cycle2"/>
    <dgm:cxn modelId="{5D75A7C2-600C-644C-94AC-2E25E19D2E37}" type="presOf" srcId="{5D62F0D9-F62E-470E-86C1-99BBA8E85072}" destId="{8A46F5DD-BBB3-4FA2-8F4F-67830FF58BA8}"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F0303B77-6001-164B-B40E-E9C2A0850DFA}"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24</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4DC47100-35A6-9F48-A06F-ECA3A6EFAAC3}" type="presOf" srcId="{9DF463DA-C321-47BB-A748-44B5D722BDE4}" destId="{03D7DCAF-0535-410C-B056-000B4ED11701}" srcOrd="0" destOrd="0" presId="urn:microsoft.com/office/officeart/2005/8/layout/cycle2"/>
    <dgm:cxn modelId="{678F4ABC-9A8D-B34A-B1F6-824766EA6D9A}" type="presOf" srcId="{5D62F0D9-F62E-470E-86C1-99BBA8E85072}" destId="{8A46F5DD-BBB3-4FA2-8F4F-67830FF58BA8}"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A28922F7-F352-314E-A90D-BDC1B0FD913E}"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02BA0D8E-884F-D545-BFF7-95207C181DAB}" type="doc">
      <dgm:prSet loTypeId="urn:microsoft.com/office/officeart/2008/layout/LinedList" loCatId=""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letters template</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31E39EDC-A585-664B-BB34-8CE12922BC30}" type="pres">
      <dgm:prSet presAssocID="{02BA0D8E-884F-D545-BFF7-95207C181DAB}" presName="vert0" presStyleCnt="0">
        <dgm:presLayoutVars>
          <dgm:dir/>
          <dgm:animOne val="branch"/>
          <dgm:animLvl val="lvl"/>
        </dgm:presLayoutVars>
      </dgm:prSet>
      <dgm:spPr/>
    </dgm:pt>
    <dgm:pt modelId="{FAD1BC9C-BB3C-4042-907B-ACECE9B8D9DA}" type="pres">
      <dgm:prSet presAssocID="{CF0461F7-EC97-BB41-A574-9C1E3009EACC}" presName="thickLine" presStyleLbl="alignNode1" presStyleIdx="0" presStyleCnt="1"/>
      <dgm:spPr/>
    </dgm:pt>
    <dgm:pt modelId="{B0A153A1-9E5B-9747-8C9B-40B9135BD456}" type="pres">
      <dgm:prSet presAssocID="{CF0461F7-EC97-BB41-A574-9C1E3009EACC}" presName="horz1" presStyleCnt="0"/>
      <dgm:spPr/>
    </dgm:pt>
    <dgm:pt modelId="{EFA6A09C-256E-1543-8FB6-FDA83C69EC93}" type="pres">
      <dgm:prSet presAssocID="{CF0461F7-EC97-BB41-A574-9C1E3009EACC}" presName="tx1" presStyleLbl="revTx" presStyleIdx="0" presStyleCnt="1"/>
      <dgm:spPr/>
    </dgm:pt>
    <dgm:pt modelId="{37A82FD8-7FF4-8E45-A7F9-B4C4464CA538}" type="pres">
      <dgm:prSet presAssocID="{CF0461F7-EC97-BB41-A574-9C1E3009EACC}" presName="vert1" presStyleCnt="0"/>
      <dgm:spPr/>
    </dgm:pt>
  </dgm:ptLst>
  <dgm:cxnLst>
    <dgm:cxn modelId="{22ADC051-4409-B042-937A-14FF38CD9354}" type="presOf" srcId="{02BA0D8E-884F-D545-BFF7-95207C181DAB}" destId="{31E39EDC-A585-664B-BB34-8CE12922BC30}" srcOrd="0" destOrd="0" presId="urn:microsoft.com/office/officeart/2008/layout/LinedList"/>
    <dgm:cxn modelId="{674D6C8A-30E6-564D-9142-120BB4D947A9}" srcId="{02BA0D8E-884F-D545-BFF7-95207C181DAB}" destId="{CF0461F7-EC97-BB41-A574-9C1E3009EACC}" srcOrd="0" destOrd="0" parTransId="{B2C709E6-0566-4D4E-97EA-2EBE699D701F}" sibTransId="{ABC1C475-5434-1B41-BC48-ADC728C8CBF7}"/>
    <dgm:cxn modelId="{77AF3BA4-C8A4-EF4B-9C91-2AA61D418316}" type="presOf" srcId="{CF0461F7-EC97-BB41-A574-9C1E3009EACC}" destId="{EFA6A09C-256E-1543-8FB6-FDA83C69EC93}" srcOrd="0" destOrd="0" presId="urn:microsoft.com/office/officeart/2008/layout/LinedList"/>
    <dgm:cxn modelId="{69884CF9-F61D-634E-852D-E556E7B20D8B}" type="presParOf" srcId="{31E39EDC-A585-664B-BB34-8CE12922BC30}" destId="{FAD1BC9C-BB3C-4042-907B-ACECE9B8D9DA}" srcOrd="0" destOrd="0" presId="urn:microsoft.com/office/officeart/2008/layout/LinedList"/>
    <dgm:cxn modelId="{66224084-DDEB-D14D-9D71-8560458A274B}" type="presParOf" srcId="{31E39EDC-A585-664B-BB34-8CE12922BC30}" destId="{B0A153A1-9E5B-9747-8C9B-40B9135BD456}" srcOrd="1" destOrd="0" presId="urn:microsoft.com/office/officeart/2008/layout/LinedList"/>
    <dgm:cxn modelId="{4E70319C-ECC1-5843-AE5D-5296F5735F68}" type="presParOf" srcId="{B0A153A1-9E5B-9747-8C9B-40B9135BD456}" destId="{EFA6A09C-256E-1543-8FB6-FDA83C69EC93}" srcOrd="0" destOrd="0" presId="urn:microsoft.com/office/officeart/2008/layout/LinedList"/>
    <dgm:cxn modelId="{EFA354F3-C23D-4D47-92D8-AD4FCD3924AE}" type="presParOf" srcId="{B0A153A1-9E5B-9747-8C9B-40B9135BD456}" destId="{37A82FD8-7FF4-8E45-A7F9-B4C4464CA538}" srcOrd="1" destOrd="0" presId="urn:microsoft.com/office/officeart/2008/layout/Lined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02BA0D8E-884F-D545-BFF7-95207C181DAB}" type="doc">
      <dgm:prSet loTypeId="urn:microsoft.com/office/officeart/2008/layout/LinedList" loCatId=""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Module specific</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C8A9BCB3-602F-FC4A-9626-FAF506510228}">
      <dgm:prSet/>
      <dgm:spPr/>
      <dgm:t>
        <a:bodyPr/>
        <a:lstStyle/>
        <a:p>
          <a:pPr rtl="0"/>
          <a:r>
            <a:rPr lang="en-CA" dirty="0"/>
            <a:t>Print job options </a:t>
          </a:r>
        </a:p>
      </dgm:t>
    </dgm:pt>
    <dgm:pt modelId="{0B803AD3-6C2C-FE47-9803-37C40BE4582E}" type="parTrans" cxnId="{56EF0DD2-1AD6-AC4D-8684-479C4202D190}">
      <dgm:prSet/>
      <dgm:spPr/>
      <dgm:t>
        <a:bodyPr/>
        <a:lstStyle/>
        <a:p>
          <a:endParaRPr lang="en-CA"/>
        </a:p>
      </dgm:t>
    </dgm:pt>
    <dgm:pt modelId="{8C959BF5-5ADE-2F4A-B433-E7E671FD26BE}" type="sibTrans" cxnId="{56EF0DD2-1AD6-AC4D-8684-479C4202D190}">
      <dgm:prSet/>
      <dgm:spPr/>
      <dgm:t>
        <a:bodyPr/>
        <a:lstStyle/>
        <a:p>
          <a:endParaRPr lang="en-CA"/>
        </a:p>
      </dgm:t>
    </dgm:pt>
    <dgm:pt modelId="{32474BBC-88A0-1C44-A18F-4CF150105D86}">
      <dgm:prSet/>
      <dgm:spPr/>
      <dgm:t>
        <a:bodyPr/>
        <a:lstStyle/>
        <a:p>
          <a:pPr rtl="0"/>
          <a:r>
            <a:rPr lang="en-CA" dirty="0"/>
            <a:t>Default status</a:t>
          </a:r>
        </a:p>
      </dgm:t>
    </dgm:pt>
    <dgm:pt modelId="{17ECB415-8A09-024D-8509-6756546607A6}" type="parTrans" cxnId="{D5B1A383-B17E-5F45-AF81-5850EB7482C1}">
      <dgm:prSet/>
      <dgm:spPr/>
      <dgm:t>
        <a:bodyPr/>
        <a:lstStyle/>
        <a:p>
          <a:endParaRPr lang="en-CA"/>
        </a:p>
      </dgm:t>
    </dgm:pt>
    <dgm:pt modelId="{4EC9D627-09BB-8F44-96E5-1099EC0F8D41}" type="sibTrans" cxnId="{D5B1A383-B17E-5F45-AF81-5850EB7482C1}">
      <dgm:prSet/>
      <dgm:spPr/>
      <dgm:t>
        <a:bodyPr/>
        <a:lstStyle/>
        <a:p>
          <a:endParaRPr lang="en-CA"/>
        </a:p>
      </dgm:t>
    </dgm:pt>
    <dgm:pt modelId="{C8CD5F70-40B5-4AFA-9C0D-FCEF72A758FD}">
      <dgm:prSet/>
      <dgm:spPr/>
      <dgm:t>
        <a:bodyPr/>
        <a:lstStyle/>
        <a:p>
          <a:pPr rtl="0"/>
          <a:r>
            <a:rPr lang="en-CA" dirty="0"/>
            <a:t>Environment  - PDF</a:t>
          </a:r>
        </a:p>
      </dgm:t>
    </dgm:pt>
    <dgm:pt modelId="{1F3009F4-6BE4-4B18-9AF0-09FDD174D707}" type="parTrans" cxnId="{3E385AE4-3F74-4D7A-B4FA-9E89DD219015}">
      <dgm:prSet/>
      <dgm:spPr/>
      <dgm:t>
        <a:bodyPr/>
        <a:lstStyle/>
        <a:p>
          <a:endParaRPr lang="en-US"/>
        </a:p>
      </dgm:t>
    </dgm:pt>
    <dgm:pt modelId="{F52C2102-672F-486A-8000-BB18151B353C}" type="sibTrans" cxnId="{3E385AE4-3F74-4D7A-B4FA-9E89DD219015}">
      <dgm:prSet/>
      <dgm:spPr/>
      <dgm:t>
        <a:bodyPr/>
        <a:lstStyle/>
        <a:p>
          <a:endParaRPr lang="en-US"/>
        </a:p>
      </dgm:t>
    </dgm:pt>
    <dgm:pt modelId="{C8ABDA39-58EF-9C46-B292-73792352B0B7}" type="pres">
      <dgm:prSet presAssocID="{02BA0D8E-884F-D545-BFF7-95207C181DAB}" presName="vert0" presStyleCnt="0">
        <dgm:presLayoutVars>
          <dgm:dir/>
          <dgm:animOne val="branch"/>
          <dgm:animLvl val="lvl"/>
        </dgm:presLayoutVars>
      </dgm:prSet>
      <dgm:spPr/>
    </dgm:pt>
    <dgm:pt modelId="{E0423E40-546B-6848-A130-772B49BFF901}" type="pres">
      <dgm:prSet presAssocID="{CF0461F7-EC97-BB41-A574-9C1E3009EACC}" presName="thickLine" presStyleLbl="alignNode1" presStyleIdx="0" presStyleCnt="4"/>
      <dgm:spPr/>
    </dgm:pt>
    <dgm:pt modelId="{2F10AC57-A766-AB40-8698-F1B8B273E324}" type="pres">
      <dgm:prSet presAssocID="{CF0461F7-EC97-BB41-A574-9C1E3009EACC}" presName="horz1" presStyleCnt="0"/>
      <dgm:spPr/>
    </dgm:pt>
    <dgm:pt modelId="{9F3550A8-C527-544F-B87C-C2ED37BB573D}" type="pres">
      <dgm:prSet presAssocID="{CF0461F7-EC97-BB41-A574-9C1E3009EACC}" presName="tx1" presStyleLbl="revTx" presStyleIdx="0" presStyleCnt="4"/>
      <dgm:spPr/>
    </dgm:pt>
    <dgm:pt modelId="{A1F665B7-5B9E-4843-821E-6589B68760A5}" type="pres">
      <dgm:prSet presAssocID="{CF0461F7-EC97-BB41-A574-9C1E3009EACC}" presName="vert1" presStyleCnt="0"/>
      <dgm:spPr/>
    </dgm:pt>
    <dgm:pt modelId="{E150E1FE-6ADA-BF40-86C4-48C54532161D}" type="pres">
      <dgm:prSet presAssocID="{C8A9BCB3-602F-FC4A-9626-FAF506510228}" presName="thickLine" presStyleLbl="alignNode1" presStyleIdx="1" presStyleCnt="4"/>
      <dgm:spPr/>
    </dgm:pt>
    <dgm:pt modelId="{FE429E8F-CDCF-3C40-9074-2720BE09A705}" type="pres">
      <dgm:prSet presAssocID="{C8A9BCB3-602F-FC4A-9626-FAF506510228}" presName="horz1" presStyleCnt="0"/>
      <dgm:spPr/>
    </dgm:pt>
    <dgm:pt modelId="{33F1761E-4FCE-5149-90A2-807F4A57833A}" type="pres">
      <dgm:prSet presAssocID="{C8A9BCB3-602F-FC4A-9626-FAF506510228}" presName="tx1" presStyleLbl="revTx" presStyleIdx="1" presStyleCnt="4"/>
      <dgm:spPr/>
    </dgm:pt>
    <dgm:pt modelId="{31315E23-6E83-2945-907F-96A108CD3258}" type="pres">
      <dgm:prSet presAssocID="{C8A9BCB3-602F-FC4A-9626-FAF506510228}" presName="vert1" presStyleCnt="0"/>
      <dgm:spPr/>
    </dgm:pt>
    <dgm:pt modelId="{C767301B-3A73-0643-B523-3C80510AD1F9}" type="pres">
      <dgm:prSet presAssocID="{32474BBC-88A0-1C44-A18F-4CF150105D86}" presName="thickLine" presStyleLbl="alignNode1" presStyleIdx="2" presStyleCnt="4"/>
      <dgm:spPr/>
    </dgm:pt>
    <dgm:pt modelId="{53A6EF9D-34CF-0947-A327-78D2A815EC8D}" type="pres">
      <dgm:prSet presAssocID="{32474BBC-88A0-1C44-A18F-4CF150105D86}" presName="horz1" presStyleCnt="0"/>
      <dgm:spPr/>
    </dgm:pt>
    <dgm:pt modelId="{E1FBB68F-59FA-F547-82C3-FA1EBEA8C252}" type="pres">
      <dgm:prSet presAssocID="{32474BBC-88A0-1C44-A18F-4CF150105D86}" presName="tx1" presStyleLbl="revTx" presStyleIdx="2" presStyleCnt="4"/>
      <dgm:spPr/>
    </dgm:pt>
    <dgm:pt modelId="{E8CF8952-3B14-604D-B140-1CB7BCE5309F}" type="pres">
      <dgm:prSet presAssocID="{32474BBC-88A0-1C44-A18F-4CF150105D86}" presName="vert1" presStyleCnt="0"/>
      <dgm:spPr/>
    </dgm:pt>
    <dgm:pt modelId="{A8C1CF43-877E-3B4F-9869-8FFAD5D25063}" type="pres">
      <dgm:prSet presAssocID="{C8CD5F70-40B5-4AFA-9C0D-FCEF72A758FD}" presName="thickLine" presStyleLbl="alignNode1" presStyleIdx="3" presStyleCnt="4"/>
      <dgm:spPr/>
    </dgm:pt>
    <dgm:pt modelId="{C8D52E96-E9CB-3A46-BB12-AD5A8FC9DD96}" type="pres">
      <dgm:prSet presAssocID="{C8CD5F70-40B5-4AFA-9C0D-FCEF72A758FD}" presName="horz1" presStyleCnt="0"/>
      <dgm:spPr/>
    </dgm:pt>
    <dgm:pt modelId="{AD400192-7934-FB4C-917B-C8901803F3D3}" type="pres">
      <dgm:prSet presAssocID="{C8CD5F70-40B5-4AFA-9C0D-FCEF72A758FD}" presName="tx1" presStyleLbl="revTx" presStyleIdx="3" presStyleCnt="4"/>
      <dgm:spPr/>
    </dgm:pt>
    <dgm:pt modelId="{0A1EE1F7-4C76-AE4E-ACFB-EEF129A68B35}" type="pres">
      <dgm:prSet presAssocID="{C8CD5F70-40B5-4AFA-9C0D-FCEF72A758FD}" presName="vert1" presStyleCnt="0"/>
      <dgm:spPr/>
    </dgm:pt>
  </dgm:ptLst>
  <dgm:cxnLst>
    <dgm:cxn modelId="{C21F390B-013F-C74D-8C8B-0844C665CDE3}" type="presOf" srcId="{02BA0D8E-884F-D545-BFF7-95207C181DAB}" destId="{C8ABDA39-58EF-9C46-B292-73792352B0B7}" srcOrd="0" destOrd="0" presId="urn:microsoft.com/office/officeart/2008/layout/LinedList"/>
    <dgm:cxn modelId="{4DB0191D-8F1A-B448-82B6-E999428CCEF5}" type="presOf" srcId="{C8CD5F70-40B5-4AFA-9C0D-FCEF72A758FD}" destId="{AD400192-7934-FB4C-917B-C8901803F3D3}" srcOrd="0" destOrd="0" presId="urn:microsoft.com/office/officeart/2008/layout/LinedList"/>
    <dgm:cxn modelId="{3562704F-DF30-6B42-8EEF-D371C81ECF3E}" type="presOf" srcId="{CF0461F7-EC97-BB41-A574-9C1E3009EACC}" destId="{9F3550A8-C527-544F-B87C-C2ED37BB573D}" srcOrd="0" destOrd="0" presId="urn:microsoft.com/office/officeart/2008/layout/LinedList"/>
    <dgm:cxn modelId="{A4628455-0F75-5447-ADF5-DDA3AD993522}" type="presOf" srcId="{C8A9BCB3-602F-FC4A-9626-FAF506510228}" destId="{33F1761E-4FCE-5149-90A2-807F4A57833A}" srcOrd="0" destOrd="0" presId="urn:microsoft.com/office/officeart/2008/layout/LinedList"/>
    <dgm:cxn modelId="{44D56D81-896A-5B4C-95FD-224AE58F0A66}" type="presOf" srcId="{32474BBC-88A0-1C44-A18F-4CF150105D86}" destId="{E1FBB68F-59FA-F547-82C3-FA1EBEA8C252}" srcOrd="0" destOrd="0" presId="urn:microsoft.com/office/officeart/2008/layout/LinedList"/>
    <dgm:cxn modelId="{D5B1A383-B17E-5F45-AF81-5850EB7482C1}" srcId="{02BA0D8E-884F-D545-BFF7-95207C181DAB}" destId="{32474BBC-88A0-1C44-A18F-4CF150105D86}" srcOrd="2" destOrd="0" parTransId="{17ECB415-8A09-024D-8509-6756546607A6}" sibTransId="{4EC9D627-09BB-8F44-96E5-1099EC0F8D41}"/>
    <dgm:cxn modelId="{674D6C8A-30E6-564D-9142-120BB4D947A9}" srcId="{02BA0D8E-884F-D545-BFF7-95207C181DAB}" destId="{CF0461F7-EC97-BB41-A574-9C1E3009EACC}" srcOrd="0" destOrd="0" parTransId="{B2C709E6-0566-4D4E-97EA-2EBE699D701F}" sibTransId="{ABC1C475-5434-1B41-BC48-ADC728C8CBF7}"/>
    <dgm:cxn modelId="{56EF0DD2-1AD6-AC4D-8684-479C4202D190}" srcId="{02BA0D8E-884F-D545-BFF7-95207C181DAB}" destId="{C8A9BCB3-602F-FC4A-9626-FAF506510228}" srcOrd="1" destOrd="0" parTransId="{0B803AD3-6C2C-FE47-9803-37C40BE4582E}" sibTransId="{8C959BF5-5ADE-2F4A-B433-E7E671FD26BE}"/>
    <dgm:cxn modelId="{3E385AE4-3F74-4D7A-B4FA-9E89DD219015}" srcId="{02BA0D8E-884F-D545-BFF7-95207C181DAB}" destId="{C8CD5F70-40B5-4AFA-9C0D-FCEF72A758FD}" srcOrd="3" destOrd="0" parTransId="{1F3009F4-6BE4-4B18-9AF0-09FDD174D707}" sibTransId="{F52C2102-672F-486A-8000-BB18151B353C}"/>
    <dgm:cxn modelId="{53CFD6F7-BB3D-0944-A9CE-398933C35360}" type="presParOf" srcId="{C8ABDA39-58EF-9C46-B292-73792352B0B7}" destId="{E0423E40-546B-6848-A130-772B49BFF901}" srcOrd="0" destOrd="0" presId="urn:microsoft.com/office/officeart/2008/layout/LinedList"/>
    <dgm:cxn modelId="{45EE4B9A-1A60-8349-83B2-43AA489A87A2}" type="presParOf" srcId="{C8ABDA39-58EF-9C46-B292-73792352B0B7}" destId="{2F10AC57-A766-AB40-8698-F1B8B273E324}" srcOrd="1" destOrd="0" presId="urn:microsoft.com/office/officeart/2008/layout/LinedList"/>
    <dgm:cxn modelId="{012DA123-27C2-4849-A88A-6413D485A869}" type="presParOf" srcId="{2F10AC57-A766-AB40-8698-F1B8B273E324}" destId="{9F3550A8-C527-544F-B87C-C2ED37BB573D}" srcOrd="0" destOrd="0" presId="urn:microsoft.com/office/officeart/2008/layout/LinedList"/>
    <dgm:cxn modelId="{3EACB308-D4DD-6440-81EE-5F28242454EB}" type="presParOf" srcId="{2F10AC57-A766-AB40-8698-F1B8B273E324}" destId="{A1F665B7-5B9E-4843-821E-6589B68760A5}" srcOrd="1" destOrd="0" presId="urn:microsoft.com/office/officeart/2008/layout/LinedList"/>
    <dgm:cxn modelId="{DBD0A554-DF93-DB4C-AF82-F799DD863C40}" type="presParOf" srcId="{C8ABDA39-58EF-9C46-B292-73792352B0B7}" destId="{E150E1FE-6ADA-BF40-86C4-48C54532161D}" srcOrd="2" destOrd="0" presId="urn:microsoft.com/office/officeart/2008/layout/LinedList"/>
    <dgm:cxn modelId="{C40F8B31-3AAB-FB4A-9755-15999CDC325A}" type="presParOf" srcId="{C8ABDA39-58EF-9C46-B292-73792352B0B7}" destId="{FE429E8F-CDCF-3C40-9074-2720BE09A705}" srcOrd="3" destOrd="0" presId="urn:microsoft.com/office/officeart/2008/layout/LinedList"/>
    <dgm:cxn modelId="{3332F012-1BAE-1E4E-A0B6-F9A68CC662A1}" type="presParOf" srcId="{FE429E8F-CDCF-3C40-9074-2720BE09A705}" destId="{33F1761E-4FCE-5149-90A2-807F4A57833A}" srcOrd="0" destOrd="0" presId="urn:microsoft.com/office/officeart/2008/layout/LinedList"/>
    <dgm:cxn modelId="{BEC844B1-691E-FF4A-A0C0-E4D05C494A5A}" type="presParOf" srcId="{FE429E8F-CDCF-3C40-9074-2720BE09A705}" destId="{31315E23-6E83-2945-907F-96A108CD3258}" srcOrd="1" destOrd="0" presId="urn:microsoft.com/office/officeart/2008/layout/LinedList"/>
    <dgm:cxn modelId="{B1B7555A-DCCA-3046-94A6-AF9432FDC575}" type="presParOf" srcId="{C8ABDA39-58EF-9C46-B292-73792352B0B7}" destId="{C767301B-3A73-0643-B523-3C80510AD1F9}" srcOrd="4" destOrd="0" presId="urn:microsoft.com/office/officeart/2008/layout/LinedList"/>
    <dgm:cxn modelId="{9222DCBE-0E84-F442-A6A8-86B268D9BB55}" type="presParOf" srcId="{C8ABDA39-58EF-9C46-B292-73792352B0B7}" destId="{53A6EF9D-34CF-0947-A327-78D2A815EC8D}" srcOrd="5" destOrd="0" presId="urn:microsoft.com/office/officeart/2008/layout/LinedList"/>
    <dgm:cxn modelId="{F0EB7889-FFFC-FC44-9A28-DE4B3739C117}" type="presParOf" srcId="{53A6EF9D-34CF-0947-A327-78D2A815EC8D}" destId="{E1FBB68F-59FA-F547-82C3-FA1EBEA8C252}" srcOrd="0" destOrd="0" presId="urn:microsoft.com/office/officeart/2008/layout/LinedList"/>
    <dgm:cxn modelId="{79146E25-24DC-0041-A6EF-54EDA72965A4}" type="presParOf" srcId="{53A6EF9D-34CF-0947-A327-78D2A815EC8D}" destId="{E8CF8952-3B14-604D-B140-1CB7BCE5309F}" srcOrd="1" destOrd="0" presId="urn:microsoft.com/office/officeart/2008/layout/LinedList"/>
    <dgm:cxn modelId="{12F0D0DC-DCE7-B04A-8FCD-A67C42712D2C}" type="presParOf" srcId="{C8ABDA39-58EF-9C46-B292-73792352B0B7}" destId="{A8C1CF43-877E-3B4F-9869-8FFAD5D25063}" srcOrd="6" destOrd="0" presId="urn:microsoft.com/office/officeart/2008/layout/LinedList"/>
    <dgm:cxn modelId="{2422495C-EBE9-3A4F-A8D9-09E4A56621EB}" type="presParOf" srcId="{C8ABDA39-58EF-9C46-B292-73792352B0B7}" destId="{C8D52E96-E9CB-3A46-BB12-AD5A8FC9DD96}" srcOrd="7" destOrd="0" presId="urn:microsoft.com/office/officeart/2008/layout/LinedList"/>
    <dgm:cxn modelId="{E360CB21-AE21-0F40-93DE-A4706D953F3D}" type="presParOf" srcId="{C8D52E96-E9CB-3A46-BB12-AD5A8FC9DD96}" destId="{AD400192-7934-FB4C-917B-C8901803F3D3}" srcOrd="0" destOrd="0" presId="urn:microsoft.com/office/officeart/2008/layout/LinedList"/>
    <dgm:cxn modelId="{1C6F2FAB-8EAA-3B4B-BD0F-E3D336A9B0E1}" type="presParOf" srcId="{C8D52E96-E9CB-3A46-BB12-AD5A8FC9DD96}" destId="{0A1EE1F7-4C76-AE4E-ACFB-EEF129A68B35}"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29</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248C1E31-ACF2-7546-A00C-923A20664CE8}" type="presOf" srcId="{5D62F0D9-F62E-470E-86C1-99BBA8E85072}" destId="{8A46F5DD-BBB3-4FA2-8F4F-67830FF58BA8}" srcOrd="0" destOrd="0" presId="urn:microsoft.com/office/officeart/2005/8/layout/cycle2"/>
    <dgm:cxn modelId="{6DD5536D-B81B-EA40-963D-3BB181D38DA2}" type="presOf" srcId="{9DF463DA-C321-47BB-A748-44B5D722BDE4}" destId="{03D7DCAF-0535-410C-B056-000B4ED11701}"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3A686C4B-720F-2642-BE6D-2971A7C2EFA8}"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02BA0D8E-884F-D545-BFF7-95207C181DAB}" type="doc">
      <dgm:prSet loTypeId="urn:microsoft.com/office/officeart/2008/layout/LinedList" loCatId=""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Module specific</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C8A9BCB3-602F-FC4A-9626-FAF506510228}">
      <dgm:prSet/>
      <dgm:spPr/>
      <dgm:t>
        <a:bodyPr/>
        <a:lstStyle/>
        <a:p>
          <a:pPr rtl="0"/>
          <a:r>
            <a:rPr lang="en-CA" dirty="0"/>
            <a:t>Billing options</a:t>
          </a:r>
        </a:p>
      </dgm:t>
    </dgm:pt>
    <dgm:pt modelId="{0B803AD3-6C2C-FE47-9803-37C40BE4582E}" type="parTrans" cxnId="{56EF0DD2-1AD6-AC4D-8684-479C4202D190}">
      <dgm:prSet/>
      <dgm:spPr/>
      <dgm:t>
        <a:bodyPr/>
        <a:lstStyle/>
        <a:p>
          <a:endParaRPr lang="en-CA"/>
        </a:p>
      </dgm:t>
    </dgm:pt>
    <dgm:pt modelId="{8C959BF5-5ADE-2F4A-B433-E7E671FD26BE}" type="sibTrans" cxnId="{56EF0DD2-1AD6-AC4D-8684-479C4202D190}">
      <dgm:prSet/>
      <dgm:spPr/>
      <dgm:t>
        <a:bodyPr/>
        <a:lstStyle/>
        <a:p>
          <a:endParaRPr lang="en-CA"/>
        </a:p>
      </dgm:t>
    </dgm:pt>
    <dgm:pt modelId="{32474BBC-88A0-1C44-A18F-4CF150105D86}">
      <dgm:prSet/>
      <dgm:spPr/>
      <dgm:t>
        <a:bodyPr/>
        <a:lstStyle/>
        <a:p>
          <a:pPr rtl="0"/>
          <a:r>
            <a:rPr lang="en-CA" dirty="0"/>
            <a:t>Detail or summary</a:t>
          </a:r>
        </a:p>
      </dgm:t>
    </dgm:pt>
    <dgm:pt modelId="{17ECB415-8A09-024D-8509-6756546607A6}" type="parTrans" cxnId="{D5B1A383-B17E-5F45-AF81-5850EB7482C1}">
      <dgm:prSet/>
      <dgm:spPr/>
      <dgm:t>
        <a:bodyPr/>
        <a:lstStyle/>
        <a:p>
          <a:endParaRPr lang="en-CA"/>
        </a:p>
      </dgm:t>
    </dgm:pt>
    <dgm:pt modelId="{4EC9D627-09BB-8F44-96E5-1099EC0F8D41}" type="sibTrans" cxnId="{D5B1A383-B17E-5F45-AF81-5850EB7482C1}">
      <dgm:prSet/>
      <dgm:spPr/>
      <dgm:t>
        <a:bodyPr/>
        <a:lstStyle/>
        <a:p>
          <a:endParaRPr lang="en-CA"/>
        </a:p>
      </dgm:t>
    </dgm:pt>
    <dgm:pt modelId="{94D6F562-2227-4F64-9FD2-A4865BDE759C}">
      <dgm:prSet/>
      <dgm:spPr/>
      <dgm:t>
        <a:bodyPr/>
        <a:lstStyle/>
        <a:p>
          <a:pPr rtl="0"/>
          <a:r>
            <a:rPr lang="en-CA" dirty="0"/>
            <a:t>Environment / timer</a:t>
          </a:r>
        </a:p>
      </dgm:t>
    </dgm:pt>
    <dgm:pt modelId="{3CADCA43-9BE1-4F63-BEEA-16069A5C8D4B}" type="parTrans" cxnId="{00703F00-0B15-4704-B251-B2F262723784}">
      <dgm:prSet/>
      <dgm:spPr/>
      <dgm:t>
        <a:bodyPr/>
        <a:lstStyle/>
        <a:p>
          <a:endParaRPr lang="en-US"/>
        </a:p>
      </dgm:t>
    </dgm:pt>
    <dgm:pt modelId="{063A2A82-22CA-4167-95BE-CF997E39BA7B}" type="sibTrans" cxnId="{00703F00-0B15-4704-B251-B2F262723784}">
      <dgm:prSet/>
      <dgm:spPr/>
      <dgm:t>
        <a:bodyPr/>
        <a:lstStyle/>
        <a:p>
          <a:endParaRPr lang="en-US"/>
        </a:p>
      </dgm:t>
    </dgm:pt>
    <dgm:pt modelId="{A7132151-53AB-8145-A392-73AC914660CF}" type="pres">
      <dgm:prSet presAssocID="{02BA0D8E-884F-D545-BFF7-95207C181DAB}" presName="vert0" presStyleCnt="0">
        <dgm:presLayoutVars>
          <dgm:dir/>
          <dgm:animOne val="branch"/>
          <dgm:animLvl val="lvl"/>
        </dgm:presLayoutVars>
      </dgm:prSet>
      <dgm:spPr/>
    </dgm:pt>
    <dgm:pt modelId="{B36838D9-0680-D144-B299-263D9A9141F0}" type="pres">
      <dgm:prSet presAssocID="{CF0461F7-EC97-BB41-A574-9C1E3009EACC}" presName="thickLine" presStyleLbl="alignNode1" presStyleIdx="0" presStyleCnt="4"/>
      <dgm:spPr/>
    </dgm:pt>
    <dgm:pt modelId="{AF07519B-C805-D341-9BFB-630CE424DC38}" type="pres">
      <dgm:prSet presAssocID="{CF0461F7-EC97-BB41-A574-9C1E3009EACC}" presName="horz1" presStyleCnt="0"/>
      <dgm:spPr/>
    </dgm:pt>
    <dgm:pt modelId="{13930B3A-C44D-C74D-BCC5-395B739F6ACA}" type="pres">
      <dgm:prSet presAssocID="{CF0461F7-EC97-BB41-A574-9C1E3009EACC}" presName="tx1" presStyleLbl="revTx" presStyleIdx="0" presStyleCnt="4"/>
      <dgm:spPr/>
    </dgm:pt>
    <dgm:pt modelId="{7FD63472-428A-B146-8CA8-F256C5305688}" type="pres">
      <dgm:prSet presAssocID="{CF0461F7-EC97-BB41-A574-9C1E3009EACC}" presName="vert1" presStyleCnt="0"/>
      <dgm:spPr/>
    </dgm:pt>
    <dgm:pt modelId="{A412B3AD-7D15-8A4B-8C61-EF65C77BFDD5}" type="pres">
      <dgm:prSet presAssocID="{C8A9BCB3-602F-FC4A-9626-FAF506510228}" presName="thickLine" presStyleLbl="alignNode1" presStyleIdx="1" presStyleCnt="4"/>
      <dgm:spPr/>
    </dgm:pt>
    <dgm:pt modelId="{7CB09055-E0AA-824C-BFB9-C8BF59F0C935}" type="pres">
      <dgm:prSet presAssocID="{C8A9BCB3-602F-FC4A-9626-FAF506510228}" presName="horz1" presStyleCnt="0"/>
      <dgm:spPr/>
    </dgm:pt>
    <dgm:pt modelId="{FBA12B56-8C94-8543-A091-DDAE40427D2B}" type="pres">
      <dgm:prSet presAssocID="{C8A9BCB3-602F-FC4A-9626-FAF506510228}" presName="tx1" presStyleLbl="revTx" presStyleIdx="1" presStyleCnt="4"/>
      <dgm:spPr/>
    </dgm:pt>
    <dgm:pt modelId="{A2A58ACE-F402-FC48-9DCF-3919F9F5D393}" type="pres">
      <dgm:prSet presAssocID="{C8A9BCB3-602F-FC4A-9626-FAF506510228}" presName="vert1" presStyleCnt="0"/>
      <dgm:spPr/>
    </dgm:pt>
    <dgm:pt modelId="{6AFFB69E-9B71-8543-A122-EF412B9C7859}" type="pres">
      <dgm:prSet presAssocID="{32474BBC-88A0-1C44-A18F-4CF150105D86}" presName="thickLine" presStyleLbl="alignNode1" presStyleIdx="2" presStyleCnt="4"/>
      <dgm:spPr/>
    </dgm:pt>
    <dgm:pt modelId="{BD7523D7-5D48-DF47-AC01-D77CB0CA80DF}" type="pres">
      <dgm:prSet presAssocID="{32474BBC-88A0-1C44-A18F-4CF150105D86}" presName="horz1" presStyleCnt="0"/>
      <dgm:spPr/>
    </dgm:pt>
    <dgm:pt modelId="{746F5BD0-19F9-114F-A526-0F1C96570DF2}" type="pres">
      <dgm:prSet presAssocID="{32474BBC-88A0-1C44-A18F-4CF150105D86}" presName="tx1" presStyleLbl="revTx" presStyleIdx="2" presStyleCnt="4"/>
      <dgm:spPr/>
    </dgm:pt>
    <dgm:pt modelId="{84083786-03D1-214B-9E50-5EF5ED962351}" type="pres">
      <dgm:prSet presAssocID="{32474BBC-88A0-1C44-A18F-4CF150105D86}" presName="vert1" presStyleCnt="0"/>
      <dgm:spPr/>
    </dgm:pt>
    <dgm:pt modelId="{23AA3E1E-1270-844B-B338-B86E45D621C6}" type="pres">
      <dgm:prSet presAssocID="{94D6F562-2227-4F64-9FD2-A4865BDE759C}" presName="thickLine" presStyleLbl="alignNode1" presStyleIdx="3" presStyleCnt="4"/>
      <dgm:spPr/>
    </dgm:pt>
    <dgm:pt modelId="{C9947476-9D47-E243-80B6-0BF52C92F5F8}" type="pres">
      <dgm:prSet presAssocID="{94D6F562-2227-4F64-9FD2-A4865BDE759C}" presName="horz1" presStyleCnt="0"/>
      <dgm:spPr/>
    </dgm:pt>
    <dgm:pt modelId="{B1F84AFD-E820-9C4E-B1EB-DA528DE25529}" type="pres">
      <dgm:prSet presAssocID="{94D6F562-2227-4F64-9FD2-A4865BDE759C}" presName="tx1" presStyleLbl="revTx" presStyleIdx="3" presStyleCnt="4"/>
      <dgm:spPr/>
    </dgm:pt>
    <dgm:pt modelId="{1CFD9179-6AC7-EA43-A828-14324899E495}" type="pres">
      <dgm:prSet presAssocID="{94D6F562-2227-4F64-9FD2-A4865BDE759C}" presName="vert1" presStyleCnt="0"/>
      <dgm:spPr/>
    </dgm:pt>
  </dgm:ptLst>
  <dgm:cxnLst>
    <dgm:cxn modelId="{00703F00-0B15-4704-B251-B2F262723784}" srcId="{02BA0D8E-884F-D545-BFF7-95207C181DAB}" destId="{94D6F562-2227-4F64-9FD2-A4865BDE759C}" srcOrd="3" destOrd="0" parTransId="{3CADCA43-9BE1-4F63-BEEA-16069A5C8D4B}" sibTransId="{063A2A82-22CA-4167-95BE-CF997E39BA7B}"/>
    <dgm:cxn modelId="{A9877215-A856-AF4A-9468-1C53E149E5BF}" type="presOf" srcId="{32474BBC-88A0-1C44-A18F-4CF150105D86}" destId="{746F5BD0-19F9-114F-A526-0F1C96570DF2}" srcOrd="0" destOrd="0" presId="urn:microsoft.com/office/officeart/2008/layout/LinedList"/>
    <dgm:cxn modelId="{1932071F-64A1-2E47-8B9B-E07F0129A42A}" type="presOf" srcId="{CF0461F7-EC97-BB41-A574-9C1E3009EACC}" destId="{13930B3A-C44D-C74D-BCC5-395B739F6ACA}" srcOrd="0" destOrd="0" presId="urn:microsoft.com/office/officeart/2008/layout/LinedList"/>
    <dgm:cxn modelId="{EAF51050-599A-2E47-94AD-291CBC3A240B}" type="presOf" srcId="{94D6F562-2227-4F64-9FD2-A4865BDE759C}" destId="{B1F84AFD-E820-9C4E-B1EB-DA528DE25529}" srcOrd="0" destOrd="0" presId="urn:microsoft.com/office/officeart/2008/layout/LinedList"/>
    <dgm:cxn modelId="{D5B1A383-B17E-5F45-AF81-5850EB7482C1}" srcId="{02BA0D8E-884F-D545-BFF7-95207C181DAB}" destId="{32474BBC-88A0-1C44-A18F-4CF150105D86}" srcOrd="2" destOrd="0" parTransId="{17ECB415-8A09-024D-8509-6756546607A6}" sibTransId="{4EC9D627-09BB-8F44-96E5-1099EC0F8D41}"/>
    <dgm:cxn modelId="{674D6C8A-30E6-564D-9142-120BB4D947A9}" srcId="{02BA0D8E-884F-D545-BFF7-95207C181DAB}" destId="{CF0461F7-EC97-BB41-A574-9C1E3009EACC}" srcOrd="0" destOrd="0" parTransId="{B2C709E6-0566-4D4E-97EA-2EBE699D701F}" sibTransId="{ABC1C475-5434-1B41-BC48-ADC728C8CBF7}"/>
    <dgm:cxn modelId="{42EA3DB9-2E7C-5B42-ADF3-69514172422C}" type="presOf" srcId="{C8A9BCB3-602F-FC4A-9626-FAF506510228}" destId="{FBA12B56-8C94-8543-A091-DDAE40427D2B}" srcOrd="0" destOrd="0" presId="urn:microsoft.com/office/officeart/2008/layout/LinedList"/>
    <dgm:cxn modelId="{56EF0DD2-1AD6-AC4D-8684-479C4202D190}" srcId="{02BA0D8E-884F-D545-BFF7-95207C181DAB}" destId="{C8A9BCB3-602F-FC4A-9626-FAF506510228}" srcOrd="1" destOrd="0" parTransId="{0B803AD3-6C2C-FE47-9803-37C40BE4582E}" sibTransId="{8C959BF5-5ADE-2F4A-B433-E7E671FD26BE}"/>
    <dgm:cxn modelId="{B723E5FE-B07E-A746-9154-B76D49D98325}" type="presOf" srcId="{02BA0D8E-884F-D545-BFF7-95207C181DAB}" destId="{A7132151-53AB-8145-A392-73AC914660CF}" srcOrd="0" destOrd="0" presId="urn:microsoft.com/office/officeart/2008/layout/LinedList"/>
    <dgm:cxn modelId="{09EFA4A9-0374-0043-AA01-57DD4B324B89}" type="presParOf" srcId="{A7132151-53AB-8145-A392-73AC914660CF}" destId="{B36838D9-0680-D144-B299-263D9A9141F0}" srcOrd="0" destOrd="0" presId="urn:microsoft.com/office/officeart/2008/layout/LinedList"/>
    <dgm:cxn modelId="{FF240C0F-F7D8-AD4B-B057-A84C3F58FC9A}" type="presParOf" srcId="{A7132151-53AB-8145-A392-73AC914660CF}" destId="{AF07519B-C805-D341-9BFB-630CE424DC38}" srcOrd="1" destOrd="0" presId="urn:microsoft.com/office/officeart/2008/layout/LinedList"/>
    <dgm:cxn modelId="{011F2456-8E6D-5F4E-A735-E939B069A228}" type="presParOf" srcId="{AF07519B-C805-D341-9BFB-630CE424DC38}" destId="{13930B3A-C44D-C74D-BCC5-395B739F6ACA}" srcOrd="0" destOrd="0" presId="urn:microsoft.com/office/officeart/2008/layout/LinedList"/>
    <dgm:cxn modelId="{4B593D2C-811A-594B-86D8-33E64E6BEFCE}" type="presParOf" srcId="{AF07519B-C805-D341-9BFB-630CE424DC38}" destId="{7FD63472-428A-B146-8CA8-F256C5305688}" srcOrd="1" destOrd="0" presId="urn:microsoft.com/office/officeart/2008/layout/LinedList"/>
    <dgm:cxn modelId="{0BCDA934-EFD4-7E44-826E-865E1C5655DB}" type="presParOf" srcId="{A7132151-53AB-8145-A392-73AC914660CF}" destId="{A412B3AD-7D15-8A4B-8C61-EF65C77BFDD5}" srcOrd="2" destOrd="0" presId="urn:microsoft.com/office/officeart/2008/layout/LinedList"/>
    <dgm:cxn modelId="{70FF18F8-A015-364D-9453-E5EAF5E994B7}" type="presParOf" srcId="{A7132151-53AB-8145-A392-73AC914660CF}" destId="{7CB09055-E0AA-824C-BFB9-C8BF59F0C935}" srcOrd="3" destOrd="0" presId="urn:microsoft.com/office/officeart/2008/layout/LinedList"/>
    <dgm:cxn modelId="{3778BDB9-3085-F246-A074-E08B0619721D}" type="presParOf" srcId="{7CB09055-E0AA-824C-BFB9-C8BF59F0C935}" destId="{FBA12B56-8C94-8543-A091-DDAE40427D2B}" srcOrd="0" destOrd="0" presId="urn:microsoft.com/office/officeart/2008/layout/LinedList"/>
    <dgm:cxn modelId="{D05E272B-E60B-0443-A593-F63E5AF213A0}" type="presParOf" srcId="{7CB09055-E0AA-824C-BFB9-C8BF59F0C935}" destId="{A2A58ACE-F402-FC48-9DCF-3919F9F5D393}" srcOrd="1" destOrd="0" presId="urn:microsoft.com/office/officeart/2008/layout/LinedList"/>
    <dgm:cxn modelId="{72EFFF00-E8B1-7141-90B9-A2DB6B36EA26}" type="presParOf" srcId="{A7132151-53AB-8145-A392-73AC914660CF}" destId="{6AFFB69E-9B71-8543-A122-EF412B9C7859}" srcOrd="4" destOrd="0" presId="urn:microsoft.com/office/officeart/2008/layout/LinedList"/>
    <dgm:cxn modelId="{B8D26B7E-CF3B-F64F-B30C-6556BCDEFC54}" type="presParOf" srcId="{A7132151-53AB-8145-A392-73AC914660CF}" destId="{BD7523D7-5D48-DF47-AC01-D77CB0CA80DF}" srcOrd="5" destOrd="0" presId="urn:microsoft.com/office/officeart/2008/layout/LinedList"/>
    <dgm:cxn modelId="{B5A02C03-F777-A947-9026-BC66459BCC52}" type="presParOf" srcId="{BD7523D7-5D48-DF47-AC01-D77CB0CA80DF}" destId="{746F5BD0-19F9-114F-A526-0F1C96570DF2}" srcOrd="0" destOrd="0" presId="urn:microsoft.com/office/officeart/2008/layout/LinedList"/>
    <dgm:cxn modelId="{6516668D-2D24-9548-A784-5CBF0284A7C4}" type="presParOf" srcId="{BD7523D7-5D48-DF47-AC01-D77CB0CA80DF}" destId="{84083786-03D1-214B-9E50-5EF5ED962351}" srcOrd="1" destOrd="0" presId="urn:microsoft.com/office/officeart/2008/layout/LinedList"/>
    <dgm:cxn modelId="{4AF2E3E7-F56E-DA41-A0A7-54B9269D8BED}" type="presParOf" srcId="{A7132151-53AB-8145-A392-73AC914660CF}" destId="{23AA3E1E-1270-844B-B338-B86E45D621C6}" srcOrd="6" destOrd="0" presId="urn:microsoft.com/office/officeart/2008/layout/LinedList"/>
    <dgm:cxn modelId="{78B39312-1C50-BB4F-B08F-ABCBB766B5AB}" type="presParOf" srcId="{A7132151-53AB-8145-A392-73AC914660CF}" destId="{C9947476-9D47-E243-80B6-0BF52C92F5F8}" srcOrd="7" destOrd="0" presId="urn:microsoft.com/office/officeart/2008/layout/LinedList"/>
    <dgm:cxn modelId="{61720F28-497E-2949-A263-41E34A40A5BE}" type="presParOf" srcId="{C9947476-9D47-E243-80B6-0BF52C92F5F8}" destId="{B1F84AFD-E820-9C4E-B1EB-DA528DE25529}" srcOrd="0" destOrd="0" presId="urn:microsoft.com/office/officeart/2008/layout/LinedList"/>
    <dgm:cxn modelId="{77897B78-C1A5-8842-9FC0-DBA22432B9B9}" type="presParOf" srcId="{C9947476-9D47-E243-80B6-0BF52C92F5F8}" destId="{1CFD9179-6AC7-EA43-A828-14324899E495}"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a:t>
          </a:r>
        </a:p>
        <a:p>
          <a:r>
            <a:rPr lang="en-US" dirty="0"/>
            <a:t>29</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F8E71309-AB77-C245-AA9F-8F4E1033C4A5}" type="presOf" srcId="{9DF463DA-C321-47BB-A748-44B5D722BDE4}" destId="{03D7DCAF-0535-410C-B056-000B4ED11701}" srcOrd="0" destOrd="0" presId="urn:microsoft.com/office/officeart/2005/8/layout/cycle2"/>
    <dgm:cxn modelId="{02D15067-2C56-1142-B632-DAEA49D9BBB5}" type="presOf" srcId="{5D62F0D9-F62E-470E-86C1-99BBA8E85072}" destId="{8A46F5DD-BBB3-4FA2-8F4F-67830FF58BA8}"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39C1D95B-451F-C94C-B5D3-DB8E7EB8DBFA}"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15</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8C77AC56-CBA0-1D49-B592-AAFDF182D885}" type="presOf" srcId="{9DF463DA-C321-47BB-A748-44B5D722BDE4}" destId="{03D7DCAF-0535-410C-B056-000B4ED11701}" srcOrd="0" destOrd="0" presId="urn:microsoft.com/office/officeart/2005/8/layout/cycle2"/>
    <dgm:cxn modelId="{78EA6980-8FAE-1441-93B5-B2C2DCEB5A79}" type="presOf" srcId="{5D62F0D9-F62E-470E-86C1-99BBA8E85072}" destId="{8A46F5DD-BBB3-4FA2-8F4F-67830FF58BA8}"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9B7D3D19-414A-B24A-B820-0F39D25643B3}"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8EE7D0E7-DA34-4477-90E7-C353D67E9996}"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7CDD1067-0825-4B4E-8D1F-A72EDC9EFD6F}" type="pres">
      <dgm:prSet presAssocID="{8EE7D0E7-DA34-4477-90E7-C353D67E9996}" presName="cycle" presStyleCnt="0">
        <dgm:presLayoutVars>
          <dgm:dir/>
          <dgm:resizeHandles val="exact"/>
        </dgm:presLayoutVars>
      </dgm:prSet>
      <dgm:spPr/>
    </dgm:pt>
  </dgm:ptLst>
  <dgm:cxnLst>
    <dgm:cxn modelId="{305D96BE-F768-AA46-9449-A19C4E06596D}" type="presOf" srcId="{8EE7D0E7-DA34-4477-90E7-C353D67E9996}" destId="{7CDD1067-0825-4B4E-8D1F-A72EDC9EFD6F}" srcOrd="0" destOrd="0" presId="urn:microsoft.com/office/officeart/2005/8/layout/cycle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02BA0D8E-884F-D545-BFF7-95207C181DAB}" type="doc">
      <dgm:prSet loTypeId="urn:microsoft.com/office/officeart/2008/layout/LinedList" loCatId=""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Secure your password</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C8A9BCB3-602F-FC4A-9626-FAF506510228}">
      <dgm:prSet/>
      <dgm:spPr/>
      <dgm:t>
        <a:bodyPr/>
        <a:lstStyle/>
        <a:p>
          <a:pPr rtl="0"/>
          <a:r>
            <a:rPr lang="en-CA" dirty="0"/>
            <a:t>Tech support may not be able to restore it</a:t>
          </a:r>
        </a:p>
      </dgm:t>
    </dgm:pt>
    <dgm:pt modelId="{0B803AD3-6C2C-FE47-9803-37C40BE4582E}" type="parTrans" cxnId="{56EF0DD2-1AD6-AC4D-8684-479C4202D190}">
      <dgm:prSet/>
      <dgm:spPr/>
      <dgm:t>
        <a:bodyPr/>
        <a:lstStyle/>
        <a:p>
          <a:endParaRPr lang="en-CA"/>
        </a:p>
      </dgm:t>
    </dgm:pt>
    <dgm:pt modelId="{8C959BF5-5ADE-2F4A-B433-E7E671FD26BE}" type="sibTrans" cxnId="{56EF0DD2-1AD6-AC4D-8684-479C4202D190}">
      <dgm:prSet/>
      <dgm:spPr/>
      <dgm:t>
        <a:bodyPr/>
        <a:lstStyle/>
        <a:p>
          <a:endParaRPr lang="en-CA"/>
        </a:p>
      </dgm:t>
    </dgm:pt>
    <dgm:pt modelId="{914B6499-678F-EA46-80D6-A4B508E5C904}" type="pres">
      <dgm:prSet presAssocID="{02BA0D8E-884F-D545-BFF7-95207C181DAB}" presName="vert0" presStyleCnt="0">
        <dgm:presLayoutVars>
          <dgm:dir/>
          <dgm:animOne val="branch"/>
          <dgm:animLvl val="lvl"/>
        </dgm:presLayoutVars>
      </dgm:prSet>
      <dgm:spPr/>
    </dgm:pt>
    <dgm:pt modelId="{08D4C91D-F689-4D45-8F05-C1044B24FC9F}" type="pres">
      <dgm:prSet presAssocID="{CF0461F7-EC97-BB41-A574-9C1E3009EACC}" presName="thickLine" presStyleLbl="alignNode1" presStyleIdx="0" presStyleCnt="2"/>
      <dgm:spPr/>
    </dgm:pt>
    <dgm:pt modelId="{73809F7A-D2CD-6C46-80E5-B60DC43A450D}" type="pres">
      <dgm:prSet presAssocID="{CF0461F7-EC97-BB41-A574-9C1E3009EACC}" presName="horz1" presStyleCnt="0"/>
      <dgm:spPr/>
    </dgm:pt>
    <dgm:pt modelId="{739DE20D-5CF0-CA40-BE8A-A3C138587309}" type="pres">
      <dgm:prSet presAssocID="{CF0461F7-EC97-BB41-A574-9C1E3009EACC}" presName="tx1" presStyleLbl="revTx" presStyleIdx="0" presStyleCnt="2"/>
      <dgm:spPr/>
    </dgm:pt>
    <dgm:pt modelId="{5898B56B-2E71-D448-9F7A-EF75A56C94EC}" type="pres">
      <dgm:prSet presAssocID="{CF0461F7-EC97-BB41-A574-9C1E3009EACC}" presName="vert1" presStyleCnt="0"/>
      <dgm:spPr/>
    </dgm:pt>
    <dgm:pt modelId="{941F8D1F-7FA1-2D43-84D7-C6807E5BCB9F}" type="pres">
      <dgm:prSet presAssocID="{C8A9BCB3-602F-FC4A-9626-FAF506510228}" presName="thickLine" presStyleLbl="alignNode1" presStyleIdx="1" presStyleCnt="2"/>
      <dgm:spPr/>
    </dgm:pt>
    <dgm:pt modelId="{1EF2EBA7-ADB2-C84E-BB87-C250B110FB84}" type="pres">
      <dgm:prSet presAssocID="{C8A9BCB3-602F-FC4A-9626-FAF506510228}" presName="horz1" presStyleCnt="0"/>
      <dgm:spPr/>
    </dgm:pt>
    <dgm:pt modelId="{A1DBDBEE-4D32-EB4F-ACE7-3347912A7BA6}" type="pres">
      <dgm:prSet presAssocID="{C8A9BCB3-602F-FC4A-9626-FAF506510228}" presName="tx1" presStyleLbl="revTx" presStyleIdx="1" presStyleCnt="2"/>
      <dgm:spPr/>
    </dgm:pt>
    <dgm:pt modelId="{A37EC10D-EE4F-5642-B98C-CC656791416C}" type="pres">
      <dgm:prSet presAssocID="{C8A9BCB3-602F-FC4A-9626-FAF506510228}" presName="vert1" presStyleCnt="0"/>
      <dgm:spPr/>
    </dgm:pt>
  </dgm:ptLst>
  <dgm:cxnLst>
    <dgm:cxn modelId="{EA7D2318-DF6F-6D42-AF70-E4A84A54BEC5}" type="presOf" srcId="{02BA0D8E-884F-D545-BFF7-95207C181DAB}" destId="{914B6499-678F-EA46-80D6-A4B508E5C904}" srcOrd="0" destOrd="0" presId="urn:microsoft.com/office/officeart/2008/layout/LinedList"/>
    <dgm:cxn modelId="{3193CC1A-7E5B-3447-8A63-67A5298646BF}" type="presOf" srcId="{C8A9BCB3-602F-FC4A-9626-FAF506510228}" destId="{A1DBDBEE-4D32-EB4F-ACE7-3347912A7BA6}" srcOrd="0" destOrd="0" presId="urn:microsoft.com/office/officeart/2008/layout/LinedList"/>
    <dgm:cxn modelId="{674D6C8A-30E6-564D-9142-120BB4D947A9}" srcId="{02BA0D8E-884F-D545-BFF7-95207C181DAB}" destId="{CF0461F7-EC97-BB41-A574-9C1E3009EACC}" srcOrd="0" destOrd="0" parTransId="{B2C709E6-0566-4D4E-97EA-2EBE699D701F}" sibTransId="{ABC1C475-5434-1B41-BC48-ADC728C8CBF7}"/>
    <dgm:cxn modelId="{BA4EEFD0-F394-2B48-80B9-9BEEAA429B5F}" type="presOf" srcId="{CF0461F7-EC97-BB41-A574-9C1E3009EACC}" destId="{739DE20D-5CF0-CA40-BE8A-A3C138587309}" srcOrd="0" destOrd="0" presId="urn:microsoft.com/office/officeart/2008/layout/LinedList"/>
    <dgm:cxn modelId="{56EF0DD2-1AD6-AC4D-8684-479C4202D190}" srcId="{02BA0D8E-884F-D545-BFF7-95207C181DAB}" destId="{C8A9BCB3-602F-FC4A-9626-FAF506510228}" srcOrd="1" destOrd="0" parTransId="{0B803AD3-6C2C-FE47-9803-37C40BE4582E}" sibTransId="{8C959BF5-5ADE-2F4A-B433-E7E671FD26BE}"/>
    <dgm:cxn modelId="{AECE8350-64F6-264B-B36A-098BB9D83F73}" type="presParOf" srcId="{914B6499-678F-EA46-80D6-A4B508E5C904}" destId="{08D4C91D-F689-4D45-8F05-C1044B24FC9F}" srcOrd="0" destOrd="0" presId="urn:microsoft.com/office/officeart/2008/layout/LinedList"/>
    <dgm:cxn modelId="{3E19601E-672C-F74E-AA25-6A3018CE7D97}" type="presParOf" srcId="{914B6499-678F-EA46-80D6-A4B508E5C904}" destId="{73809F7A-D2CD-6C46-80E5-B60DC43A450D}" srcOrd="1" destOrd="0" presId="urn:microsoft.com/office/officeart/2008/layout/LinedList"/>
    <dgm:cxn modelId="{69BF7C42-70FE-584D-AAD8-6B5BE63798AB}" type="presParOf" srcId="{73809F7A-D2CD-6C46-80E5-B60DC43A450D}" destId="{739DE20D-5CF0-CA40-BE8A-A3C138587309}" srcOrd="0" destOrd="0" presId="urn:microsoft.com/office/officeart/2008/layout/LinedList"/>
    <dgm:cxn modelId="{6B483C18-FE99-144D-9FA9-0DA12173D57A}" type="presParOf" srcId="{73809F7A-D2CD-6C46-80E5-B60DC43A450D}" destId="{5898B56B-2E71-D448-9F7A-EF75A56C94EC}" srcOrd="1" destOrd="0" presId="urn:microsoft.com/office/officeart/2008/layout/LinedList"/>
    <dgm:cxn modelId="{069D9759-2190-274A-A588-2527F4531F72}" type="presParOf" srcId="{914B6499-678F-EA46-80D6-A4B508E5C904}" destId="{941F8D1F-7FA1-2D43-84D7-C6807E5BCB9F}" srcOrd="2" destOrd="0" presId="urn:microsoft.com/office/officeart/2008/layout/LinedList"/>
    <dgm:cxn modelId="{511C4FF9-4AD4-3E47-8630-2EFB2879F7D1}" type="presParOf" srcId="{914B6499-678F-EA46-80D6-A4B508E5C904}" destId="{1EF2EBA7-ADB2-C84E-BB87-C250B110FB84}" srcOrd="3" destOrd="0" presId="urn:microsoft.com/office/officeart/2008/layout/LinedList"/>
    <dgm:cxn modelId="{D8213895-B413-844B-8F94-4918A77FF183}" type="presParOf" srcId="{1EF2EBA7-ADB2-C84E-BB87-C250B110FB84}" destId="{A1DBDBEE-4D32-EB4F-ACE7-3347912A7BA6}" srcOrd="0" destOrd="0" presId="urn:microsoft.com/office/officeart/2008/layout/LinedList"/>
    <dgm:cxn modelId="{2A952E53-8C3E-8E4F-A14F-5B3AD948BB62}" type="presParOf" srcId="{1EF2EBA7-ADB2-C84E-BB87-C250B110FB84}" destId="{A37EC10D-EE4F-5642-B98C-CC656791416C}" srcOrd="1" destOrd="0" presId="urn:microsoft.com/office/officeart/2008/layout/LinedList"/>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31</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9F20B16B-2A7A-154E-A713-20089322D2E0}" type="presOf" srcId="{9DF463DA-C321-47BB-A748-44B5D722BDE4}" destId="{03D7DCAF-0535-410C-B056-000B4ED11701}" srcOrd="0" destOrd="0" presId="urn:microsoft.com/office/officeart/2005/8/layout/cycle2"/>
    <dgm:cxn modelId="{D3082385-F02B-0944-96DC-75159AC275FB}" type="presOf" srcId="{5D62F0D9-F62E-470E-86C1-99BBA8E85072}" destId="{8A46F5DD-BBB3-4FA2-8F4F-67830FF58BA8}"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96FA421C-55C9-2A41-A36A-6C701F4C3386}"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18"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31</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CE7902B6-743B-3A46-B732-A088E483852D}" type="presOf" srcId="{5D62F0D9-F62E-470E-86C1-99BBA8E85072}" destId="{8A46F5DD-BBB3-4FA2-8F4F-67830FF58BA8}"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A09012E9-22BD-9241-B9C4-4F5245A98ADD}" type="presOf" srcId="{9DF463DA-C321-47BB-A748-44B5D722BDE4}" destId="{03D7DCAF-0535-410C-B056-000B4ED11701}" srcOrd="0" destOrd="0" presId="urn:microsoft.com/office/officeart/2005/8/layout/cycle2"/>
    <dgm:cxn modelId="{0B2AB18C-8B41-2446-A9F1-82F9EF0ADE65}"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4.xml><?xml version="1.0" encoding="utf-8"?>
<dgm:dataModel xmlns:dgm="http://schemas.openxmlformats.org/drawingml/2006/diagram" xmlns:a="http://schemas.openxmlformats.org/drawingml/2006/main">
  <dgm:ptLst>
    <dgm:pt modelId="{02BA0D8E-884F-D545-BFF7-95207C181DAB}" type="doc">
      <dgm:prSet loTypeId="urn:microsoft.com/office/officeart/2008/layout/LinedList" loCatId=""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Options Administration</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C8A9BCB3-602F-FC4A-9626-FAF506510228}">
      <dgm:prSet/>
      <dgm:spPr/>
      <dgm:t>
        <a:bodyPr/>
        <a:lstStyle/>
        <a:p>
          <a:pPr rtl="0"/>
          <a:r>
            <a:rPr lang="en-CA" dirty="0"/>
            <a:t>Save your settings</a:t>
          </a:r>
        </a:p>
      </dgm:t>
    </dgm:pt>
    <dgm:pt modelId="{0B803AD3-6C2C-FE47-9803-37C40BE4582E}" type="parTrans" cxnId="{56EF0DD2-1AD6-AC4D-8684-479C4202D190}">
      <dgm:prSet/>
      <dgm:spPr/>
      <dgm:t>
        <a:bodyPr/>
        <a:lstStyle/>
        <a:p>
          <a:endParaRPr lang="en-CA"/>
        </a:p>
      </dgm:t>
    </dgm:pt>
    <dgm:pt modelId="{8C959BF5-5ADE-2F4A-B433-E7E671FD26BE}" type="sibTrans" cxnId="{56EF0DD2-1AD6-AC4D-8684-479C4202D190}">
      <dgm:prSet/>
      <dgm:spPr/>
      <dgm:t>
        <a:bodyPr/>
        <a:lstStyle/>
        <a:p>
          <a:endParaRPr lang="en-CA"/>
        </a:p>
      </dgm:t>
    </dgm:pt>
    <dgm:pt modelId="{A9AD28F3-A0C4-1344-98FF-45F62CBD2826}" type="pres">
      <dgm:prSet presAssocID="{02BA0D8E-884F-D545-BFF7-95207C181DAB}" presName="vert0" presStyleCnt="0">
        <dgm:presLayoutVars>
          <dgm:dir/>
          <dgm:animOne val="branch"/>
          <dgm:animLvl val="lvl"/>
        </dgm:presLayoutVars>
      </dgm:prSet>
      <dgm:spPr/>
    </dgm:pt>
    <dgm:pt modelId="{9230D550-E344-C742-9C2F-6C12E9AFF7AC}" type="pres">
      <dgm:prSet presAssocID="{CF0461F7-EC97-BB41-A574-9C1E3009EACC}" presName="thickLine" presStyleLbl="alignNode1" presStyleIdx="0" presStyleCnt="2"/>
      <dgm:spPr/>
    </dgm:pt>
    <dgm:pt modelId="{15A6FEFE-E83F-6F49-BD86-2687B92A40B3}" type="pres">
      <dgm:prSet presAssocID="{CF0461F7-EC97-BB41-A574-9C1E3009EACC}" presName="horz1" presStyleCnt="0"/>
      <dgm:spPr/>
    </dgm:pt>
    <dgm:pt modelId="{9C959630-4836-BD45-8203-E80A0A90DF86}" type="pres">
      <dgm:prSet presAssocID="{CF0461F7-EC97-BB41-A574-9C1E3009EACC}" presName="tx1" presStyleLbl="revTx" presStyleIdx="0" presStyleCnt="2"/>
      <dgm:spPr/>
    </dgm:pt>
    <dgm:pt modelId="{5ABFD703-080C-7D41-871B-C3352525A443}" type="pres">
      <dgm:prSet presAssocID="{CF0461F7-EC97-BB41-A574-9C1E3009EACC}" presName="vert1" presStyleCnt="0"/>
      <dgm:spPr/>
    </dgm:pt>
    <dgm:pt modelId="{11571A48-622D-E24E-88FD-A1095B73831B}" type="pres">
      <dgm:prSet presAssocID="{C8A9BCB3-602F-FC4A-9626-FAF506510228}" presName="thickLine" presStyleLbl="alignNode1" presStyleIdx="1" presStyleCnt="2"/>
      <dgm:spPr/>
    </dgm:pt>
    <dgm:pt modelId="{C5016731-8D8F-DD40-80D8-149761E4E2C3}" type="pres">
      <dgm:prSet presAssocID="{C8A9BCB3-602F-FC4A-9626-FAF506510228}" presName="horz1" presStyleCnt="0"/>
      <dgm:spPr/>
    </dgm:pt>
    <dgm:pt modelId="{7465ADEB-0ED2-1244-80BD-1F8228695F4A}" type="pres">
      <dgm:prSet presAssocID="{C8A9BCB3-602F-FC4A-9626-FAF506510228}" presName="tx1" presStyleLbl="revTx" presStyleIdx="1" presStyleCnt="2"/>
      <dgm:spPr/>
    </dgm:pt>
    <dgm:pt modelId="{CED77D40-6EDA-D344-9A9B-0EA484CB17BB}" type="pres">
      <dgm:prSet presAssocID="{C8A9BCB3-602F-FC4A-9626-FAF506510228}" presName="vert1" presStyleCnt="0"/>
      <dgm:spPr/>
    </dgm:pt>
  </dgm:ptLst>
  <dgm:cxnLst>
    <dgm:cxn modelId="{3C54ED39-8257-4242-8B2B-8592A0C25324}" type="presOf" srcId="{CF0461F7-EC97-BB41-A574-9C1E3009EACC}" destId="{9C959630-4836-BD45-8203-E80A0A90DF86}" srcOrd="0" destOrd="0" presId="urn:microsoft.com/office/officeart/2008/layout/LinedList"/>
    <dgm:cxn modelId="{9C67825C-694C-0145-BE25-8E917F65C3C7}" type="presOf" srcId="{02BA0D8E-884F-D545-BFF7-95207C181DAB}" destId="{A9AD28F3-A0C4-1344-98FF-45F62CBD2826}" srcOrd="0" destOrd="0" presId="urn:microsoft.com/office/officeart/2008/layout/LinedList"/>
    <dgm:cxn modelId="{2A257462-90BA-0042-A3E7-2D53B85AF311}" type="presOf" srcId="{C8A9BCB3-602F-FC4A-9626-FAF506510228}" destId="{7465ADEB-0ED2-1244-80BD-1F8228695F4A}" srcOrd="0" destOrd="0" presId="urn:microsoft.com/office/officeart/2008/layout/LinedList"/>
    <dgm:cxn modelId="{674D6C8A-30E6-564D-9142-120BB4D947A9}" srcId="{02BA0D8E-884F-D545-BFF7-95207C181DAB}" destId="{CF0461F7-EC97-BB41-A574-9C1E3009EACC}" srcOrd="0" destOrd="0" parTransId="{B2C709E6-0566-4D4E-97EA-2EBE699D701F}" sibTransId="{ABC1C475-5434-1B41-BC48-ADC728C8CBF7}"/>
    <dgm:cxn modelId="{56EF0DD2-1AD6-AC4D-8684-479C4202D190}" srcId="{02BA0D8E-884F-D545-BFF7-95207C181DAB}" destId="{C8A9BCB3-602F-FC4A-9626-FAF506510228}" srcOrd="1" destOrd="0" parTransId="{0B803AD3-6C2C-FE47-9803-37C40BE4582E}" sibTransId="{8C959BF5-5ADE-2F4A-B433-E7E671FD26BE}"/>
    <dgm:cxn modelId="{4D6E8B5A-6B2D-DD42-9D6B-2E06A09C502C}" type="presParOf" srcId="{A9AD28F3-A0C4-1344-98FF-45F62CBD2826}" destId="{9230D550-E344-C742-9C2F-6C12E9AFF7AC}" srcOrd="0" destOrd="0" presId="urn:microsoft.com/office/officeart/2008/layout/LinedList"/>
    <dgm:cxn modelId="{4A5B1828-6E83-E544-ACD9-585BF58ED16C}" type="presParOf" srcId="{A9AD28F3-A0C4-1344-98FF-45F62CBD2826}" destId="{15A6FEFE-E83F-6F49-BD86-2687B92A40B3}" srcOrd="1" destOrd="0" presId="urn:microsoft.com/office/officeart/2008/layout/LinedList"/>
    <dgm:cxn modelId="{22A605E5-0A51-2A4B-AE18-227D36EC33E7}" type="presParOf" srcId="{15A6FEFE-E83F-6F49-BD86-2687B92A40B3}" destId="{9C959630-4836-BD45-8203-E80A0A90DF86}" srcOrd="0" destOrd="0" presId="urn:microsoft.com/office/officeart/2008/layout/LinedList"/>
    <dgm:cxn modelId="{1BC9FFFC-D574-B740-96A6-3B0ABD7523CA}" type="presParOf" srcId="{15A6FEFE-E83F-6F49-BD86-2687B92A40B3}" destId="{5ABFD703-080C-7D41-871B-C3352525A443}" srcOrd="1" destOrd="0" presId="urn:microsoft.com/office/officeart/2008/layout/LinedList"/>
    <dgm:cxn modelId="{DB7B93D9-E3E0-B746-A999-B72035F4935C}" type="presParOf" srcId="{A9AD28F3-A0C4-1344-98FF-45F62CBD2826}" destId="{11571A48-622D-E24E-88FD-A1095B73831B}" srcOrd="2" destOrd="0" presId="urn:microsoft.com/office/officeart/2008/layout/LinedList"/>
    <dgm:cxn modelId="{F1EC2C03-24AF-4D45-9C6D-3B63E45A65F3}" type="presParOf" srcId="{A9AD28F3-A0C4-1344-98FF-45F62CBD2826}" destId="{C5016731-8D8F-DD40-80D8-149761E4E2C3}" srcOrd="3" destOrd="0" presId="urn:microsoft.com/office/officeart/2008/layout/LinedList"/>
    <dgm:cxn modelId="{2EC4D44C-BFA0-244E-B6C9-CE8DB9C67B2C}" type="presParOf" srcId="{C5016731-8D8F-DD40-80D8-149761E4E2C3}" destId="{7465ADEB-0ED2-1244-80BD-1F8228695F4A}" srcOrd="0" destOrd="0" presId="urn:microsoft.com/office/officeart/2008/layout/LinedList"/>
    <dgm:cxn modelId="{23E6EDA6-B03C-014F-8E8C-459F121469CE}" type="presParOf" srcId="{C5016731-8D8F-DD40-80D8-149761E4E2C3}" destId="{CED77D40-6EDA-D344-9A9B-0EA484CB17BB}" srcOrd="1" destOrd="0" presId="urn:microsoft.com/office/officeart/2008/layout/LinedList"/>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efile settings</a:t>
          </a:r>
        </a:p>
      </dgm:t>
    </dgm:pt>
    <dgm:pt modelId="{A8C8FDDF-A7B6-466B-8F6D-BCEF0E6E70DC}" type="parTrans" cxnId="{DE7A5ECD-2A79-4AA9-A9C6-B8376AED4A18}">
      <dgm:prSet/>
      <dgm:spPr/>
      <dgm:t>
        <a:bodyPr/>
        <a:lstStyle/>
        <a:p>
          <a:endParaRPr lang="en-US"/>
        </a:p>
      </dgm:t>
    </dgm:pt>
    <dgm:pt modelId="{F48166A5-2C17-4691-BB69-444CA7309013}" type="sib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C1854B69-5952-D543-AFD9-C90C91000EB1}" type="presOf" srcId="{9DF463DA-C321-47BB-A748-44B5D722BDE4}" destId="{03D7DCAF-0535-410C-B056-000B4ED11701}" srcOrd="0" destOrd="0" presId="urn:microsoft.com/office/officeart/2005/8/layout/cycle2"/>
    <dgm:cxn modelId="{02C59484-74FD-7046-A562-B00F8492F192}" type="presOf" srcId="{5D62F0D9-F62E-470E-86C1-99BBA8E85072}" destId="{8A46F5DD-BBB3-4FA2-8F4F-67830FF58BA8}"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B13A7558-6A86-D842-AF3D-F3060493F1FF}"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14</a:t>
          </a:r>
        </a:p>
      </dgm:t>
    </dgm:pt>
    <dgm:pt modelId="{A8C8FDDF-A7B6-466B-8F6D-BCEF0E6E70DC}" type="parTrans" cxnId="{DE7A5ECD-2A79-4AA9-A9C6-B8376AED4A18}">
      <dgm:prSet/>
      <dgm:spPr/>
      <dgm:t>
        <a:bodyPr/>
        <a:lstStyle/>
        <a:p>
          <a:endParaRPr lang="en-US"/>
        </a:p>
      </dgm:t>
    </dgm:pt>
    <dgm:pt modelId="{F48166A5-2C17-4691-BB69-444CA7309013}" type="sib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98860B7D-1754-0243-8206-22447148A553}" type="presOf" srcId="{5D62F0D9-F62E-470E-86C1-99BBA8E85072}" destId="{8A46F5DD-BBB3-4FA2-8F4F-67830FF58BA8}"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E6AAE8F3-C7FF-E34B-9AF8-708DA8D301B9}" type="presOf" srcId="{9DF463DA-C321-47BB-A748-44B5D722BDE4}" destId="{03D7DCAF-0535-410C-B056-000B4ED11701}" srcOrd="0" destOrd="0" presId="urn:microsoft.com/office/officeart/2005/8/layout/cycle2"/>
    <dgm:cxn modelId="{15D148B7-A1AA-C149-AB2B-84D47D8207D2}"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2BA0D8E-884F-D545-BFF7-95207C181DAB}" type="doc">
      <dgm:prSet loTypeId="urn:microsoft.com/office/officeart/2008/layout/LinedList" loCatId=""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File Location</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C8A9BCB3-602F-FC4A-9626-FAF506510228}">
      <dgm:prSet/>
      <dgm:spPr/>
      <dgm:t>
        <a:bodyPr/>
        <a:lstStyle/>
        <a:p>
          <a:pPr rtl="0"/>
          <a:r>
            <a:rPr lang="en-CA" dirty="0"/>
            <a:t>Multiple Files</a:t>
          </a:r>
        </a:p>
      </dgm:t>
    </dgm:pt>
    <dgm:pt modelId="{0B803AD3-6C2C-FE47-9803-37C40BE4582E}" type="parTrans" cxnId="{56EF0DD2-1AD6-AC4D-8684-479C4202D190}">
      <dgm:prSet/>
      <dgm:spPr/>
      <dgm:t>
        <a:bodyPr/>
        <a:lstStyle/>
        <a:p>
          <a:endParaRPr lang="en-CA"/>
        </a:p>
      </dgm:t>
    </dgm:pt>
    <dgm:pt modelId="{8C959BF5-5ADE-2F4A-B433-E7E671FD26BE}" type="sibTrans" cxnId="{56EF0DD2-1AD6-AC4D-8684-479C4202D190}">
      <dgm:prSet/>
      <dgm:spPr/>
      <dgm:t>
        <a:bodyPr/>
        <a:lstStyle/>
        <a:p>
          <a:endParaRPr lang="en-CA"/>
        </a:p>
      </dgm:t>
    </dgm:pt>
    <dgm:pt modelId="{963218B0-03E7-B248-BDE4-426021B288BE}">
      <dgm:prSet/>
      <dgm:spPr/>
      <dgm:t>
        <a:bodyPr/>
        <a:lstStyle/>
        <a:p>
          <a:pPr rtl="0"/>
          <a:r>
            <a:rPr lang="en-CA" dirty="0"/>
            <a:t>Recently used files</a:t>
          </a:r>
        </a:p>
      </dgm:t>
    </dgm:pt>
    <dgm:pt modelId="{7474B829-CB2E-394E-8C4B-780B9C0B7223}" type="parTrans" cxnId="{712BC364-7900-994F-AAE7-E8F459A67C59}">
      <dgm:prSet/>
      <dgm:spPr/>
      <dgm:t>
        <a:bodyPr/>
        <a:lstStyle/>
        <a:p>
          <a:endParaRPr lang="en-CA"/>
        </a:p>
      </dgm:t>
    </dgm:pt>
    <dgm:pt modelId="{37A20B40-C6B8-2244-B6A7-3690479ACC26}" type="sibTrans" cxnId="{712BC364-7900-994F-AAE7-E8F459A67C59}">
      <dgm:prSet/>
      <dgm:spPr/>
      <dgm:t>
        <a:bodyPr/>
        <a:lstStyle/>
        <a:p>
          <a:endParaRPr lang="en-CA"/>
        </a:p>
      </dgm:t>
    </dgm:pt>
    <dgm:pt modelId="{C3FAC807-0456-B640-8870-4811A806174C}">
      <dgm:prSet/>
      <dgm:spPr/>
      <dgm:t>
        <a:bodyPr/>
        <a:lstStyle/>
        <a:p>
          <a:pPr rtl="0"/>
          <a:r>
            <a:rPr lang="en-CA" dirty="0"/>
            <a:t>File lock</a:t>
          </a:r>
        </a:p>
      </dgm:t>
    </dgm:pt>
    <dgm:pt modelId="{1B1C7D44-9022-924A-9882-241D28900B09}" type="parTrans" cxnId="{DD3122CD-0CEE-4A49-8B94-9844C8AFAD89}">
      <dgm:prSet/>
      <dgm:spPr/>
      <dgm:t>
        <a:bodyPr/>
        <a:lstStyle/>
        <a:p>
          <a:endParaRPr lang="en-CA"/>
        </a:p>
      </dgm:t>
    </dgm:pt>
    <dgm:pt modelId="{9068D275-E7D9-044E-946D-84DCACB7E2A5}" type="sibTrans" cxnId="{DD3122CD-0CEE-4A49-8B94-9844C8AFAD89}">
      <dgm:prSet/>
      <dgm:spPr/>
      <dgm:t>
        <a:bodyPr/>
        <a:lstStyle/>
        <a:p>
          <a:endParaRPr lang="en-CA"/>
        </a:p>
      </dgm:t>
    </dgm:pt>
    <dgm:pt modelId="{7F5EAEFC-3BE4-9B45-BA73-D3C08739BFBE}" type="pres">
      <dgm:prSet presAssocID="{02BA0D8E-884F-D545-BFF7-95207C181DAB}" presName="vert0" presStyleCnt="0">
        <dgm:presLayoutVars>
          <dgm:dir/>
          <dgm:animOne val="branch"/>
          <dgm:animLvl val="lvl"/>
        </dgm:presLayoutVars>
      </dgm:prSet>
      <dgm:spPr/>
    </dgm:pt>
    <dgm:pt modelId="{5F3A9106-0D7D-754C-8E97-D9C6BEE04016}" type="pres">
      <dgm:prSet presAssocID="{CF0461F7-EC97-BB41-A574-9C1E3009EACC}" presName="thickLine" presStyleLbl="alignNode1" presStyleIdx="0" presStyleCnt="4"/>
      <dgm:spPr/>
    </dgm:pt>
    <dgm:pt modelId="{47378639-F998-BB4F-A2F2-3AA6206115ED}" type="pres">
      <dgm:prSet presAssocID="{CF0461F7-EC97-BB41-A574-9C1E3009EACC}" presName="horz1" presStyleCnt="0"/>
      <dgm:spPr/>
    </dgm:pt>
    <dgm:pt modelId="{19BDB028-EFF0-9948-BCFB-9A57B6369AAD}" type="pres">
      <dgm:prSet presAssocID="{CF0461F7-EC97-BB41-A574-9C1E3009EACC}" presName="tx1" presStyleLbl="revTx" presStyleIdx="0" presStyleCnt="4"/>
      <dgm:spPr/>
    </dgm:pt>
    <dgm:pt modelId="{D72627BB-1514-974E-BEF2-7BF31ADD2A20}" type="pres">
      <dgm:prSet presAssocID="{CF0461F7-EC97-BB41-A574-9C1E3009EACC}" presName="vert1" presStyleCnt="0"/>
      <dgm:spPr/>
    </dgm:pt>
    <dgm:pt modelId="{C2D05F8A-1B60-774E-9916-A50436F4AC02}" type="pres">
      <dgm:prSet presAssocID="{C8A9BCB3-602F-FC4A-9626-FAF506510228}" presName="thickLine" presStyleLbl="alignNode1" presStyleIdx="1" presStyleCnt="4"/>
      <dgm:spPr/>
    </dgm:pt>
    <dgm:pt modelId="{9D0FCD32-5875-824F-B805-A9C429F6C213}" type="pres">
      <dgm:prSet presAssocID="{C8A9BCB3-602F-FC4A-9626-FAF506510228}" presName="horz1" presStyleCnt="0"/>
      <dgm:spPr/>
    </dgm:pt>
    <dgm:pt modelId="{7D12AF5C-EDA5-BA46-9EEB-18EC949A0C9F}" type="pres">
      <dgm:prSet presAssocID="{C8A9BCB3-602F-FC4A-9626-FAF506510228}" presName="tx1" presStyleLbl="revTx" presStyleIdx="1" presStyleCnt="4"/>
      <dgm:spPr/>
    </dgm:pt>
    <dgm:pt modelId="{A1E55B59-ACDF-DE45-8ABF-E94AF4562235}" type="pres">
      <dgm:prSet presAssocID="{C8A9BCB3-602F-FC4A-9626-FAF506510228}" presName="vert1" presStyleCnt="0"/>
      <dgm:spPr/>
    </dgm:pt>
    <dgm:pt modelId="{C777DAFD-5545-854A-8296-FCB6A2C7CD5E}" type="pres">
      <dgm:prSet presAssocID="{963218B0-03E7-B248-BDE4-426021B288BE}" presName="thickLine" presStyleLbl="alignNode1" presStyleIdx="2" presStyleCnt="4"/>
      <dgm:spPr/>
    </dgm:pt>
    <dgm:pt modelId="{225E3E53-48F6-264F-B0E2-422C806380D5}" type="pres">
      <dgm:prSet presAssocID="{963218B0-03E7-B248-BDE4-426021B288BE}" presName="horz1" presStyleCnt="0"/>
      <dgm:spPr/>
    </dgm:pt>
    <dgm:pt modelId="{F8D1252C-D193-ED41-9164-D08FDC1CB67D}" type="pres">
      <dgm:prSet presAssocID="{963218B0-03E7-B248-BDE4-426021B288BE}" presName="tx1" presStyleLbl="revTx" presStyleIdx="2" presStyleCnt="4"/>
      <dgm:spPr/>
    </dgm:pt>
    <dgm:pt modelId="{E50E04A5-2574-134E-931A-FA68EEAE5547}" type="pres">
      <dgm:prSet presAssocID="{963218B0-03E7-B248-BDE4-426021B288BE}" presName="vert1" presStyleCnt="0"/>
      <dgm:spPr/>
    </dgm:pt>
    <dgm:pt modelId="{394BBDF5-C15E-6849-A817-C20D94D02F8E}" type="pres">
      <dgm:prSet presAssocID="{C3FAC807-0456-B640-8870-4811A806174C}" presName="thickLine" presStyleLbl="alignNode1" presStyleIdx="3" presStyleCnt="4"/>
      <dgm:spPr/>
    </dgm:pt>
    <dgm:pt modelId="{0C620973-A624-7547-8BD3-5AA610A72B01}" type="pres">
      <dgm:prSet presAssocID="{C3FAC807-0456-B640-8870-4811A806174C}" presName="horz1" presStyleCnt="0"/>
      <dgm:spPr/>
    </dgm:pt>
    <dgm:pt modelId="{9184ED7A-F496-CF4F-BFBE-9CB739316C7C}" type="pres">
      <dgm:prSet presAssocID="{C3FAC807-0456-B640-8870-4811A806174C}" presName="tx1" presStyleLbl="revTx" presStyleIdx="3" presStyleCnt="4"/>
      <dgm:spPr/>
    </dgm:pt>
    <dgm:pt modelId="{095D3042-36A1-4443-B012-FDECF8D59A05}" type="pres">
      <dgm:prSet presAssocID="{C3FAC807-0456-B640-8870-4811A806174C}" presName="vert1" presStyleCnt="0"/>
      <dgm:spPr/>
    </dgm:pt>
  </dgm:ptLst>
  <dgm:cxnLst>
    <dgm:cxn modelId="{1C4DB11B-CF05-4547-A5F9-E1667FD51CB9}" type="presOf" srcId="{C3FAC807-0456-B640-8870-4811A806174C}" destId="{9184ED7A-F496-CF4F-BFBE-9CB739316C7C}" srcOrd="0" destOrd="0" presId="urn:microsoft.com/office/officeart/2008/layout/LinedList"/>
    <dgm:cxn modelId="{52047D24-CAC6-1C45-B401-653158B7A375}" type="presOf" srcId="{CF0461F7-EC97-BB41-A574-9C1E3009EACC}" destId="{19BDB028-EFF0-9948-BCFB-9A57B6369AAD}" srcOrd="0" destOrd="0" presId="urn:microsoft.com/office/officeart/2008/layout/LinedList"/>
    <dgm:cxn modelId="{712BC364-7900-994F-AAE7-E8F459A67C59}" srcId="{02BA0D8E-884F-D545-BFF7-95207C181DAB}" destId="{963218B0-03E7-B248-BDE4-426021B288BE}" srcOrd="2" destOrd="0" parTransId="{7474B829-CB2E-394E-8C4B-780B9C0B7223}" sibTransId="{37A20B40-C6B8-2244-B6A7-3690479ACC26}"/>
    <dgm:cxn modelId="{674D6C8A-30E6-564D-9142-120BB4D947A9}" srcId="{02BA0D8E-884F-D545-BFF7-95207C181DAB}" destId="{CF0461F7-EC97-BB41-A574-9C1E3009EACC}" srcOrd="0" destOrd="0" parTransId="{B2C709E6-0566-4D4E-97EA-2EBE699D701F}" sibTransId="{ABC1C475-5434-1B41-BC48-ADC728C8CBF7}"/>
    <dgm:cxn modelId="{7D3C3C92-5C3F-C24E-8CCD-6FEEC6D17DBE}" type="presOf" srcId="{02BA0D8E-884F-D545-BFF7-95207C181DAB}" destId="{7F5EAEFC-3BE4-9B45-BA73-D3C08739BFBE}" srcOrd="0" destOrd="0" presId="urn:microsoft.com/office/officeart/2008/layout/LinedList"/>
    <dgm:cxn modelId="{5B8A05A0-84AF-584F-911F-47544D6D9269}" type="presOf" srcId="{C8A9BCB3-602F-FC4A-9626-FAF506510228}" destId="{7D12AF5C-EDA5-BA46-9EEB-18EC949A0C9F}" srcOrd="0" destOrd="0" presId="urn:microsoft.com/office/officeart/2008/layout/LinedList"/>
    <dgm:cxn modelId="{3ED78BA7-45AF-6B44-B02E-614E3D731BA0}" type="presOf" srcId="{963218B0-03E7-B248-BDE4-426021B288BE}" destId="{F8D1252C-D193-ED41-9164-D08FDC1CB67D}" srcOrd="0" destOrd="0" presId="urn:microsoft.com/office/officeart/2008/layout/LinedList"/>
    <dgm:cxn modelId="{DD3122CD-0CEE-4A49-8B94-9844C8AFAD89}" srcId="{02BA0D8E-884F-D545-BFF7-95207C181DAB}" destId="{C3FAC807-0456-B640-8870-4811A806174C}" srcOrd="3" destOrd="0" parTransId="{1B1C7D44-9022-924A-9882-241D28900B09}" sibTransId="{9068D275-E7D9-044E-946D-84DCACB7E2A5}"/>
    <dgm:cxn modelId="{56EF0DD2-1AD6-AC4D-8684-479C4202D190}" srcId="{02BA0D8E-884F-D545-BFF7-95207C181DAB}" destId="{C8A9BCB3-602F-FC4A-9626-FAF506510228}" srcOrd="1" destOrd="0" parTransId="{0B803AD3-6C2C-FE47-9803-37C40BE4582E}" sibTransId="{8C959BF5-5ADE-2F4A-B433-E7E671FD26BE}"/>
    <dgm:cxn modelId="{D1AD5361-B4FE-0145-BA5D-CD7F7EEF1515}" type="presParOf" srcId="{7F5EAEFC-3BE4-9B45-BA73-D3C08739BFBE}" destId="{5F3A9106-0D7D-754C-8E97-D9C6BEE04016}" srcOrd="0" destOrd="0" presId="urn:microsoft.com/office/officeart/2008/layout/LinedList"/>
    <dgm:cxn modelId="{A442B25E-8042-1643-80D7-1665507026C7}" type="presParOf" srcId="{7F5EAEFC-3BE4-9B45-BA73-D3C08739BFBE}" destId="{47378639-F998-BB4F-A2F2-3AA6206115ED}" srcOrd="1" destOrd="0" presId="urn:microsoft.com/office/officeart/2008/layout/LinedList"/>
    <dgm:cxn modelId="{68007251-B395-924F-9C9F-2A8918D6E14E}" type="presParOf" srcId="{47378639-F998-BB4F-A2F2-3AA6206115ED}" destId="{19BDB028-EFF0-9948-BCFB-9A57B6369AAD}" srcOrd="0" destOrd="0" presId="urn:microsoft.com/office/officeart/2008/layout/LinedList"/>
    <dgm:cxn modelId="{6D98C3CF-191E-3F4F-B41A-53F1F4D1B6EC}" type="presParOf" srcId="{47378639-F998-BB4F-A2F2-3AA6206115ED}" destId="{D72627BB-1514-974E-BEF2-7BF31ADD2A20}" srcOrd="1" destOrd="0" presId="urn:microsoft.com/office/officeart/2008/layout/LinedList"/>
    <dgm:cxn modelId="{AFAD5E9A-B98F-604E-80D2-5A2BF72F909D}" type="presParOf" srcId="{7F5EAEFC-3BE4-9B45-BA73-D3C08739BFBE}" destId="{C2D05F8A-1B60-774E-9916-A50436F4AC02}" srcOrd="2" destOrd="0" presId="urn:microsoft.com/office/officeart/2008/layout/LinedList"/>
    <dgm:cxn modelId="{B8567586-0345-0743-AB44-A604537DC470}" type="presParOf" srcId="{7F5EAEFC-3BE4-9B45-BA73-D3C08739BFBE}" destId="{9D0FCD32-5875-824F-B805-A9C429F6C213}" srcOrd="3" destOrd="0" presId="urn:microsoft.com/office/officeart/2008/layout/LinedList"/>
    <dgm:cxn modelId="{2F45F6E7-FFF2-4447-83B9-83F7EB1CD108}" type="presParOf" srcId="{9D0FCD32-5875-824F-B805-A9C429F6C213}" destId="{7D12AF5C-EDA5-BA46-9EEB-18EC949A0C9F}" srcOrd="0" destOrd="0" presId="urn:microsoft.com/office/officeart/2008/layout/LinedList"/>
    <dgm:cxn modelId="{A6242067-C3BD-6C48-BB4E-5E0BDD782E80}" type="presParOf" srcId="{9D0FCD32-5875-824F-B805-A9C429F6C213}" destId="{A1E55B59-ACDF-DE45-8ABF-E94AF4562235}" srcOrd="1" destOrd="0" presId="urn:microsoft.com/office/officeart/2008/layout/LinedList"/>
    <dgm:cxn modelId="{91A19B2B-42FA-1241-8D25-36F19325D701}" type="presParOf" srcId="{7F5EAEFC-3BE4-9B45-BA73-D3C08739BFBE}" destId="{C777DAFD-5545-854A-8296-FCB6A2C7CD5E}" srcOrd="4" destOrd="0" presId="urn:microsoft.com/office/officeart/2008/layout/LinedList"/>
    <dgm:cxn modelId="{5B2146F9-884B-334E-91CE-E66178157F3E}" type="presParOf" srcId="{7F5EAEFC-3BE4-9B45-BA73-D3C08739BFBE}" destId="{225E3E53-48F6-264F-B0E2-422C806380D5}" srcOrd="5" destOrd="0" presId="urn:microsoft.com/office/officeart/2008/layout/LinedList"/>
    <dgm:cxn modelId="{7B7397E5-C4D9-954D-9901-0C05F5EDC8D3}" type="presParOf" srcId="{225E3E53-48F6-264F-B0E2-422C806380D5}" destId="{F8D1252C-D193-ED41-9164-D08FDC1CB67D}" srcOrd="0" destOrd="0" presId="urn:microsoft.com/office/officeart/2008/layout/LinedList"/>
    <dgm:cxn modelId="{ACE9ED2D-5817-6942-A27D-9C7D121596ED}" type="presParOf" srcId="{225E3E53-48F6-264F-B0E2-422C806380D5}" destId="{E50E04A5-2574-134E-931A-FA68EEAE5547}" srcOrd="1" destOrd="0" presId="urn:microsoft.com/office/officeart/2008/layout/LinedList"/>
    <dgm:cxn modelId="{087CB321-9CAF-E440-9669-E6553CF2E7E1}" type="presParOf" srcId="{7F5EAEFC-3BE4-9B45-BA73-D3C08739BFBE}" destId="{394BBDF5-C15E-6849-A817-C20D94D02F8E}" srcOrd="6" destOrd="0" presId="urn:microsoft.com/office/officeart/2008/layout/LinedList"/>
    <dgm:cxn modelId="{9A6F5D2F-7CF4-3D4F-9B50-5568F229F1B7}" type="presParOf" srcId="{7F5EAEFC-3BE4-9B45-BA73-D3C08739BFBE}" destId="{0C620973-A624-7547-8BD3-5AA610A72B01}" srcOrd="7" destOrd="0" presId="urn:microsoft.com/office/officeart/2008/layout/LinedList"/>
    <dgm:cxn modelId="{E673C259-9AFF-E849-9916-1E437B279996}" type="presParOf" srcId="{0C620973-A624-7547-8BD3-5AA610A72B01}" destId="{9184ED7A-F496-CF4F-BFBE-9CB739316C7C}" srcOrd="0" destOrd="0" presId="urn:microsoft.com/office/officeart/2008/layout/LinedList"/>
    <dgm:cxn modelId="{C938DBBB-3508-914A-8892-4002C9F1EFAA}" type="presParOf" srcId="{0C620973-A624-7547-8BD3-5AA610A72B01}" destId="{095D3042-36A1-4443-B012-FDECF8D59A05}"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15</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41638764-9224-864C-959A-86B2077DDF74}" type="presOf" srcId="{5D62F0D9-F62E-470E-86C1-99BBA8E85072}" destId="{8A46F5DD-BBB3-4FA2-8F4F-67830FF58BA8}" srcOrd="0" destOrd="0" presId="urn:microsoft.com/office/officeart/2005/8/layout/cycle2"/>
    <dgm:cxn modelId="{C20FA86F-47A9-AA47-ACD6-72DF640A2BE9}" type="presOf" srcId="{9DF463DA-C321-47BB-A748-44B5D722BDE4}" destId="{03D7DCAF-0535-410C-B056-000B4ED11701}"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E2799226-57EC-B64C-8A23-DB6F1D256DF5}"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CA" dirty="0"/>
            <a:t>file preparer</a:t>
          </a:r>
          <a:endParaRPr lang="en-US" dirty="0"/>
        </a:p>
      </dgm:t>
    </dgm:pt>
    <dgm:pt modelId="{A8C8FDDF-A7B6-466B-8F6D-BCEF0E6E70DC}" type="parTrans" cxnId="{DE7A5ECD-2A79-4AA9-A9C6-B8376AED4A18}">
      <dgm:prSet/>
      <dgm:spPr/>
      <dgm:t>
        <a:bodyPr/>
        <a:lstStyle/>
        <a:p>
          <a:endParaRPr lang="en-US"/>
        </a:p>
      </dgm:t>
    </dgm:pt>
    <dgm:pt modelId="{F48166A5-2C17-4691-BB69-444CA7309013}" type="sib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DE7A5ECD-2A79-4AA9-A9C6-B8376AED4A18}" srcId="{5D62F0D9-F62E-470E-86C1-99BBA8E85072}" destId="{9DF463DA-C321-47BB-A748-44B5D722BDE4}" srcOrd="0" destOrd="0" parTransId="{A8C8FDDF-A7B6-466B-8F6D-BCEF0E6E70DC}" sibTransId="{F48166A5-2C17-4691-BB69-444CA7309013}"/>
    <dgm:cxn modelId="{619591CD-0938-A045-BAD5-614DD7E1E844}" type="presOf" srcId="{9DF463DA-C321-47BB-A748-44B5D722BDE4}" destId="{03D7DCAF-0535-410C-B056-000B4ED11701}" srcOrd="0" destOrd="0" presId="urn:microsoft.com/office/officeart/2005/8/layout/cycle2"/>
    <dgm:cxn modelId="{390F07EE-4044-F44E-92F1-E12EDE77DEB8}" type="presOf" srcId="{5D62F0D9-F62E-470E-86C1-99BBA8E85072}" destId="{8A46F5DD-BBB3-4FA2-8F4F-67830FF58BA8}" srcOrd="0" destOrd="0" presId="urn:microsoft.com/office/officeart/2005/8/layout/cycle2"/>
    <dgm:cxn modelId="{E7F8CF70-DC02-4D41-A657-56BF3CCB439F}"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16</a:t>
          </a:r>
        </a:p>
      </dgm:t>
    </dgm:pt>
    <dgm:pt modelId="{A8C8FDDF-A7B6-466B-8F6D-BCEF0E6E70DC}" type="parTrans" cxnId="{DE7A5ECD-2A79-4AA9-A9C6-B8376AED4A18}">
      <dgm:prSet/>
      <dgm:spPr/>
      <dgm:t>
        <a:bodyPr/>
        <a:lstStyle/>
        <a:p>
          <a:endParaRPr lang="en-US"/>
        </a:p>
      </dgm:t>
    </dgm:pt>
    <dgm:pt modelId="{F48166A5-2C17-4691-BB69-444CA7309013}" type="sib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96E6C64A-762C-3146-B95F-8E57E145CDA1}" type="presOf" srcId="{5D62F0D9-F62E-470E-86C1-99BBA8E85072}" destId="{8A46F5DD-BBB3-4FA2-8F4F-67830FF58BA8}" srcOrd="0" destOrd="0" presId="urn:microsoft.com/office/officeart/2005/8/layout/cycle2"/>
    <dgm:cxn modelId="{596A684B-EA3F-FA48-8E30-2C3ABAB9FE8E}" type="presOf" srcId="{9DF463DA-C321-47BB-A748-44B5D722BDE4}" destId="{03D7DCAF-0535-410C-B056-000B4ED11701}"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E87DC8D4-DDBE-8B47-A752-3A60985EFA09}"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86387F-48E5-9840-B2B1-6BE9A0A4131A}">
      <dsp:nvSpPr>
        <dsp:cNvPr id="0" name=""/>
        <dsp:cNvSpPr/>
      </dsp:nvSpPr>
      <dsp:spPr>
        <a:xfrm>
          <a:off x="0" y="2306"/>
          <a:ext cx="67056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8A244672-D23A-A045-B925-853BADFEE351}">
      <dsp:nvSpPr>
        <dsp:cNvPr id="0" name=""/>
        <dsp:cNvSpPr/>
      </dsp:nvSpPr>
      <dsp:spPr>
        <a:xfrm>
          <a:off x="0" y="2306"/>
          <a:ext cx="1341120" cy="15732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en-US" sz="2100" kern="1200" dirty="0"/>
            <a:t>Installing ProFile</a:t>
          </a:r>
        </a:p>
      </dsp:txBody>
      <dsp:txXfrm>
        <a:off x="0" y="2306"/>
        <a:ext cx="1341120" cy="1573262"/>
      </dsp:txXfrm>
    </dsp:sp>
    <dsp:sp modelId="{D04910D0-4753-E746-9A73-C3145468D302}">
      <dsp:nvSpPr>
        <dsp:cNvPr id="0" name=""/>
        <dsp:cNvSpPr/>
      </dsp:nvSpPr>
      <dsp:spPr>
        <a:xfrm>
          <a:off x="1441703" y="38872"/>
          <a:ext cx="5263896" cy="7313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350" tIns="133350" rIns="133350" bIns="133350" numCol="1" spcCol="1270" anchor="t" anchorCtr="0">
          <a:noAutofit/>
        </a:bodyPr>
        <a:lstStyle/>
        <a:p>
          <a:pPr marL="0" lvl="0" indent="0" algn="l" defTabSz="1555750">
            <a:lnSpc>
              <a:spcPct val="90000"/>
            </a:lnSpc>
            <a:spcBef>
              <a:spcPct val="0"/>
            </a:spcBef>
            <a:spcAft>
              <a:spcPct val="35000"/>
            </a:spcAft>
            <a:buNone/>
          </a:pPr>
          <a:r>
            <a:rPr lang="en-US" sz="3500" kern="1200" dirty="0"/>
            <a:t>Single user installation</a:t>
          </a:r>
        </a:p>
      </dsp:txBody>
      <dsp:txXfrm>
        <a:off x="1441703" y="38872"/>
        <a:ext cx="5263896" cy="731321"/>
      </dsp:txXfrm>
    </dsp:sp>
    <dsp:sp modelId="{F16390C5-A9C3-DA4B-9196-20F3040E7D99}">
      <dsp:nvSpPr>
        <dsp:cNvPr id="0" name=""/>
        <dsp:cNvSpPr/>
      </dsp:nvSpPr>
      <dsp:spPr>
        <a:xfrm>
          <a:off x="1341119" y="770193"/>
          <a:ext cx="536448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 modelId="{65C6BC6D-5E16-8443-9FA3-F409673E1549}">
      <dsp:nvSpPr>
        <dsp:cNvPr id="0" name=""/>
        <dsp:cNvSpPr/>
      </dsp:nvSpPr>
      <dsp:spPr>
        <a:xfrm>
          <a:off x="1441703" y="806760"/>
          <a:ext cx="5263896" cy="7313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350" tIns="133350" rIns="133350" bIns="133350" numCol="1" spcCol="1270" anchor="t" anchorCtr="0">
          <a:noAutofit/>
        </a:bodyPr>
        <a:lstStyle/>
        <a:p>
          <a:pPr marL="0" lvl="0" indent="0" algn="l" defTabSz="1555750">
            <a:lnSpc>
              <a:spcPct val="90000"/>
            </a:lnSpc>
            <a:spcBef>
              <a:spcPct val="0"/>
            </a:spcBef>
            <a:spcAft>
              <a:spcPct val="35000"/>
            </a:spcAft>
            <a:buNone/>
          </a:pPr>
          <a:r>
            <a:rPr lang="en-US" sz="3500" kern="1200" dirty="0"/>
            <a:t>Multi-user installation</a:t>
          </a:r>
        </a:p>
      </dsp:txBody>
      <dsp:txXfrm>
        <a:off x="1441703" y="806760"/>
        <a:ext cx="5263896" cy="731321"/>
      </dsp:txXfrm>
    </dsp:sp>
    <dsp:sp modelId="{ED9FFEE9-9FA4-C646-B6A9-A1A2FDE40C61}">
      <dsp:nvSpPr>
        <dsp:cNvPr id="0" name=""/>
        <dsp:cNvSpPr/>
      </dsp:nvSpPr>
      <dsp:spPr>
        <a:xfrm>
          <a:off x="1341119" y="1538081"/>
          <a:ext cx="536448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 modelId="{3ACFC1B5-AEAA-EF43-A19C-40029D4AA732}">
      <dsp:nvSpPr>
        <dsp:cNvPr id="0" name=""/>
        <dsp:cNvSpPr/>
      </dsp:nvSpPr>
      <dsp:spPr>
        <a:xfrm>
          <a:off x="0" y="1575568"/>
          <a:ext cx="67056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A708D4CB-3F1F-4D4F-BA8E-1EE129FF1ACB}">
      <dsp:nvSpPr>
        <dsp:cNvPr id="0" name=""/>
        <dsp:cNvSpPr/>
      </dsp:nvSpPr>
      <dsp:spPr>
        <a:xfrm>
          <a:off x="0" y="1575568"/>
          <a:ext cx="1341120" cy="15732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en-US" sz="2100" kern="1200" dirty="0"/>
            <a:t>Activation</a:t>
          </a:r>
        </a:p>
      </dsp:txBody>
      <dsp:txXfrm>
        <a:off x="0" y="1575568"/>
        <a:ext cx="1341120" cy="1573262"/>
      </dsp:txXfrm>
    </dsp:sp>
    <dsp:sp modelId="{5258F406-6DC1-E647-AD03-A16879E5F579}">
      <dsp:nvSpPr>
        <dsp:cNvPr id="0" name=""/>
        <dsp:cNvSpPr/>
      </dsp:nvSpPr>
      <dsp:spPr>
        <a:xfrm>
          <a:off x="1441703" y="1647011"/>
          <a:ext cx="5263896" cy="14288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350" tIns="133350" rIns="133350" bIns="133350" numCol="1" spcCol="1270" anchor="t" anchorCtr="0">
          <a:noAutofit/>
        </a:bodyPr>
        <a:lstStyle/>
        <a:p>
          <a:pPr marL="0" lvl="0" indent="0" algn="l" defTabSz="1555750">
            <a:lnSpc>
              <a:spcPct val="90000"/>
            </a:lnSpc>
            <a:spcBef>
              <a:spcPct val="0"/>
            </a:spcBef>
            <a:spcAft>
              <a:spcPct val="35000"/>
            </a:spcAft>
            <a:buNone/>
          </a:pPr>
          <a:r>
            <a:rPr lang="en-US" sz="3500" kern="1200" dirty="0"/>
            <a:t>Licensing information</a:t>
          </a:r>
        </a:p>
      </dsp:txBody>
      <dsp:txXfrm>
        <a:off x="1441703" y="1647011"/>
        <a:ext cx="5263896" cy="1428841"/>
      </dsp:txXfrm>
    </dsp:sp>
    <dsp:sp modelId="{FF2E17C6-E3AE-CF44-B38B-4073A5A7248D}">
      <dsp:nvSpPr>
        <dsp:cNvPr id="0" name=""/>
        <dsp:cNvSpPr/>
      </dsp:nvSpPr>
      <dsp:spPr>
        <a:xfrm>
          <a:off x="1341119" y="3075852"/>
          <a:ext cx="536448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 modelId="{598D3EF9-9948-1140-B996-B0AEACD2AE26}">
      <dsp:nvSpPr>
        <dsp:cNvPr id="0" name=""/>
        <dsp:cNvSpPr/>
      </dsp:nvSpPr>
      <dsp:spPr>
        <a:xfrm>
          <a:off x="0" y="3148831"/>
          <a:ext cx="67056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70770062-D2F3-E94B-9178-C5DCE8943717}">
      <dsp:nvSpPr>
        <dsp:cNvPr id="0" name=""/>
        <dsp:cNvSpPr/>
      </dsp:nvSpPr>
      <dsp:spPr>
        <a:xfrm>
          <a:off x="0" y="3148831"/>
          <a:ext cx="1341120" cy="15732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en-US" sz="2100" kern="1200" dirty="0"/>
            <a:t>Managing Licenses</a:t>
          </a:r>
        </a:p>
      </dsp:txBody>
      <dsp:txXfrm>
        <a:off x="0" y="3148831"/>
        <a:ext cx="1341120" cy="1573262"/>
      </dsp:txXfrm>
    </dsp:sp>
    <dsp:sp modelId="{B1BF1470-D267-BA46-80DC-0AA62682D93C}">
      <dsp:nvSpPr>
        <dsp:cNvPr id="0" name=""/>
        <dsp:cNvSpPr/>
      </dsp:nvSpPr>
      <dsp:spPr>
        <a:xfrm>
          <a:off x="1441703" y="3220273"/>
          <a:ext cx="5263896" cy="14288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350" tIns="133350" rIns="133350" bIns="133350" numCol="1" spcCol="1270" anchor="t" anchorCtr="0">
          <a:noAutofit/>
        </a:bodyPr>
        <a:lstStyle/>
        <a:p>
          <a:pPr marL="0" lvl="0" indent="0" algn="l" defTabSz="1555750">
            <a:lnSpc>
              <a:spcPct val="90000"/>
            </a:lnSpc>
            <a:spcBef>
              <a:spcPct val="0"/>
            </a:spcBef>
            <a:spcAft>
              <a:spcPct val="35000"/>
            </a:spcAft>
            <a:buNone/>
          </a:pPr>
          <a:r>
            <a:rPr lang="en-US" sz="3500" kern="1200" dirty="0"/>
            <a:t>Adding &amp; deleting</a:t>
          </a:r>
        </a:p>
      </dsp:txBody>
      <dsp:txXfrm>
        <a:off x="1441703" y="3220273"/>
        <a:ext cx="5263896" cy="1428841"/>
      </dsp:txXfrm>
    </dsp:sp>
    <dsp:sp modelId="{259E3695-2D57-A14E-97A5-E301AE359063}">
      <dsp:nvSpPr>
        <dsp:cNvPr id="0" name=""/>
        <dsp:cNvSpPr/>
      </dsp:nvSpPr>
      <dsp:spPr>
        <a:xfrm>
          <a:off x="1341119" y="4649114"/>
          <a:ext cx="536448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977A9C-DD0E-BF46-AC95-06AA4017AD78}">
      <dsp:nvSpPr>
        <dsp:cNvPr id="0" name=""/>
        <dsp:cNvSpPr/>
      </dsp:nvSpPr>
      <dsp:spPr>
        <a:xfrm>
          <a:off x="0" y="2827"/>
          <a:ext cx="27432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555C89DA-E1DB-3B4A-ABC8-2978609C5C02}">
      <dsp:nvSpPr>
        <dsp:cNvPr id="0" name=""/>
        <dsp:cNvSpPr/>
      </dsp:nvSpPr>
      <dsp:spPr>
        <a:xfrm>
          <a:off x="0" y="2827"/>
          <a:ext cx="2743200" cy="9642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rtl="0">
            <a:lnSpc>
              <a:spcPct val="90000"/>
            </a:lnSpc>
            <a:spcBef>
              <a:spcPct val="0"/>
            </a:spcBef>
            <a:spcAft>
              <a:spcPct val="35000"/>
            </a:spcAft>
            <a:buNone/>
          </a:pPr>
          <a:r>
            <a:rPr lang="en-CA" sz="2800" kern="1200"/>
            <a:t>Manual override</a:t>
          </a:r>
        </a:p>
      </dsp:txBody>
      <dsp:txXfrm>
        <a:off x="0" y="2827"/>
        <a:ext cx="2743200" cy="964257"/>
      </dsp:txXfrm>
    </dsp:sp>
    <dsp:sp modelId="{71CF7893-AB16-4E4C-9D26-AF5613152A90}">
      <dsp:nvSpPr>
        <dsp:cNvPr id="0" name=""/>
        <dsp:cNvSpPr/>
      </dsp:nvSpPr>
      <dsp:spPr>
        <a:xfrm>
          <a:off x="0" y="967085"/>
          <a:ext cx="27432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43BF4133-DCAF-BA49-86ED-DD8C584053C1}">
      <dsp:nvSpPr>
        <dsp:cNvPr id="0" name=""/>
        <dsp:cNvSpPr/>
      </dsp:nvSpPr>
      <dsp:spPr>
        <a:xfrm>
          <a:off x="0" y="967085"/>
          <a:ext cx="2743200" cy="9642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rtl="0">
            <a:lnSpc>
              <a:spcPct val="90000"/>
            </a:lnSpc>
            <a:spcBef>
              <a:spcPct val="0"/>
            </a:spcBef>
            <a:spcAft>
              <a:spcPct val="35000"/>
            </a:spcAft>
            <a:buNone/>
          </a:pPr>
          <a:r>
            <a:rPr lang="en-CA" sz="2800" kern="1200"/>
            <a:t>Drag &amp; drop</a:t>
          </a:r>
        </a:p>
      </dsp:txBody>
      <dsp:txXfrm>
        <a:off x="0" y="967085"/>
        <a:ext cx="2743200" cy="964257"/>
      </dsp:txXfrm>
    </dsp:sp>
    <dsp:sp modelId="{B28E389D-769D-1E45-8C61-E83FA428CAC0}">
      <dsp:nvSpPr>
        <dsp:cNvPr id="0" name=""/>
        <dsp:cNvSpPr/>
      </dsp:nvSpPr>
      <dsp:spPr>
        <a:xfrm>
          <a:off x="0" y="1931342"/>
          <a:ext cx="27432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7072E178-7BBA-4E43-B0D7-9DC825B7D5C6}">
      <dsp:nvSpPr>
        <dsp:cNvPr id="0" name=""/>
        <dsp:cNvSpPr/>
      </dsp:nvSpPr>
      <dsp:spPr>
        <a:xfrm>
          <a:off x="0" y="1931342"/>
          <a:ext cx="2743200" cy="9642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rtl="0">
            <a:lnSpc>
              <a:spcPct val="90000"/>
            </a:lnSpc>
            <a:spcBef>
              <a:spcPct val="0"/>
            </a:spcBef>
            <a:spcAft>
              <a:spcPct val="35000"/>
            </a:spcAft>
            <a:buNone/>
          </a:pPr>
          <a:r>
            <a:rPr lang="en-CA" sz="2800" kern="1200" dirty="0"/>
            <a:t>Validate SIN</a:t>
          </a:r>
        </a:p>
      </dsp:txBody>
      <dsp:txXfrm>
        <a:off x="0" y="1931342"/>
        <a:ext cx="2743200" cy="964257"/>
      </dsp:txXfrm>
    </dsp:sp>
    <dsp:sp modelId="{292AE175-0EE8-F140-81D4-A5D203356AE0}">
      <dsp:nvSpPr>
        <dsp:cNvPr id="0" name=""/>
        <dsp:cNvSpPr/>
      </dsp:nvSpPr>
      <dsp:spPr>
        <a:xfrm>
          <a:off x="0" y="2895599"/>
          <a:ext cx="27432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D6599D63-F0E0-2A43-ACE3-0BB351204239}">
      <dsp:nvSpPr>
        <dsp:cNvPr id="0" name=""/>
        <dsp:cNvSpPr/>
      </dsp:nvSpPr>
      <dsp:spPr>
        <a:xfrm>
          <a:off x="0" y="2895600"/>
          <a:ext cx="2743200" cy="9642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rtl="0">
            <a:lnSpc>
              <a:spcPct val="90000"/>
            </a:lnSpc>
            <a:spcBef>
              <a:spcPct val="0"/>
            </a:spcBef>
            <a:spcAft>
              <a:spcPct val="35000"/>
            </a:spcAft>
            <a:buNone/>
          </a:pPr>
          <a:r>
            <a:rPr lang="en-CA" sz="2800" kern="1200" dirty="0"/>
            <a:t>Smart Capitalization</a:t>
          </a:r>
        </a:p>
      </dsp:txBody>
      <dsp:txXfrm>
        <a:off x="0" y="2895600"/>
        <a:ext cx="2743200" cy="964257"/>
      </dsp:txXfrm>
    </dsp:sp>
    <dsp:sp modelId="{C223B15D-EA86-7B45-BBF3-636F2E98BA3F}">
      <dsp:nvSpPr>
        <dsp:cNvPr id="0" name=""/>
        <dsp:cNvSpPr/>
      </dsp:nvSpPr>
      <dsp:spPr>
        <a:xfrm>
          <a:off x="0" y="3859857"/>
          <a:ext cx="27432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8E6C79DB-67C6-1644-AD87-4F2EE3124A06}">
      <dsp:nvSpPr>
        <dsp:cNvPr id="0" name=""/>
        <dsp:cNvSpPr/>
      </dsp:nvSpPr>
      <dsp:spPr>
        <a:xfrm>
          <a:off x="0" y="3859857"/>
          <a:ext cx="2743200" cy="9642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rtl="0">
            <a:lnSpc>
              <a:spcPct val="90000"/>
            </a:lnSpc>
            <a:spcBef>
              <a:spcPct val="0"/>
            </a:spcBef>
            <a:spcAft>
              <a:spcPct val="35000"/>
            </a:spcAft>
            <a:buNone/>
          </a:pPr>
          <a:r>
            <a:rPr lang="en-CA" sz="2800" kern="1200"/>
            <a:t>Jump to a related field</a:t>
          </a:r>
        </a:p>
      </dsp:txBody>
      <dsp:txXfrm>
        <a:off x="0" y="3859857"/>
        <a:ext cx="2743200" cy="964257"/>
      </dsp:txXfrm>
    </dsp:sp>
    <dsp:sp modelId="{9FEFED8F-1FEC-DB4B-B3ED-F9A35A734DC3}">
      <dsp:nvSpPr>
        <dsp:cNvPr id="0" name=""/>
        <dsp:cNvSpPr/>
      </dsp:nvSpPr>
      <dsp:spPr>
        <a:xfrm>
          <a:off x="0" y="4824114"/>
          <a:ext cx="27432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E2AFD1CF-26F4-6242-8627-DF02DD28EED5}">
      <dsp:nvSpPr>
        <dsp:cNvPr id="0" name=""/>
        <dsp:cNvSpPr/>
      </dsp:nvSpPr>
      <dsp:spPr>
        <a:xfrm>
          <a:off x="0" y="4824114"/>
          <a:ext cx="2743200" cy="9642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rtl="0">
            <a:lnSpc>
              <a:spcPct val="90000"/>
            </a:lnSpc>
            <a:spcBef>
              <a:spcPct val="0"/>
            </a:spcBef>
            <a:spcAft>
              <a:spcPct val="35000"/>
            </a:spcAft>
            <a:buNone/>
          </a:pPr>
          <a:r>
            <a:rPr lang="en-CA" sz="2800" kern="1200"/>
            <a:t>Right-click</a:t>
          </a:r>
        </a:p>
      </dsp:txBody>
      <dsp:txXfrm>
        <a:off x="0" y="4824114"/>
        <a:ext cx="2743200" cy="964257"/>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183598" y="237"/>
          <a:ext cx="1398103" cy="1398103"/>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US" sz="3200" kern="1200" dirty="0"/>
            <a:t>page 18</a:t>
          </a:r>
        </a:p>
      </dsp:txBody>
      <dsp:txXfrm>
        <a:off x="388345" y="204984"/>
        <a:ext cx="988609" cy="988609"/>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FE38D3-B5A0-2348-9EB3-5884FB8C3A7F}">
      <dsp:nvSpPr>
        <dsp:cNvPr id="0" name=""/>
        <dsp:cNvSpPr/>
      </dsp:nvSpPr>
      <dsp:spPr>
        <a:xfrm>
          <a:off x="0" y="2676"/>
          <a:ext cx="29718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32EF12F9-18B3-C54D-8C06-6B1286E02600}">
      <dsp:nvSpPr>
        <dsp:cNvPr id="0" name=""/>
        <dsp:cNvSpPr/>
      </dsp:nvSpPr>
      <dsp:spPr>
        <a:xfrm>
          <a:off x="0" y="2676"/>
          <a:ext cx="2971800" cy="9126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rtl="0">
            <a:lnSpc>
              <a:spcPct val="90000"/>
            </a:lnSpc>
            <a:spcBef>
              <a:spcPct val="0"/>
            </a:spcBef>
            <a:spcAft>
              <a:spcPct val="35000"/>
            </a:spcAft>
            <a:buNone/>
          </a:pPr>
          <a:r>
            <a:rPr lang="en-CA" sz="2600" kern="1200" dirty="0"/>
            <a:t>Page breaks</a:t>
          </a:r>
        </a:p>
      </dsp:txBody>
      <dsp:txXfrm>
        <a:off x="0" y="2676"/>
        <a:ext cx="2971800" cy="912602"/>
      </dsp:txXfrm>
    </dsp:sp>
    <dsp:sp modelId="{68DC045E-B595-CD4F-8690-C30DBB951B6F}">
      <dsp:nvSpPr>
        <dsp:cNvPr id="0" name=""/>
        <dsp:cNvSpPr/>
      </dsp:nvSpPr>
      <dsp:spPr>
        <a:xfrm>
          <a:off x="0" y="915278"/>
          <a:ext cx="29718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8FF33461-4AA2-8D4F-ACEA-F2CA38716873}">
      <dsp:nvSpPr>
        <dsp:cNvPr id="0" name=""/>
        <dsp:cNvSpPr/>
      </dsp:nvSpPr>
      <dsp:spPr>
        <a:xfrm>
          <a:off x="0" y="915278"/>
          <a:ext cx="2971800" cy="9126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rtl="0">
            <a:lnSpc>
              <a:spcPct val="90000"/>
            </a:lnSpc>
            <a:spcBef>
              <a:spcPct val="0"/>
            </a:spcBef>
            <a:spcAft>
              <a:spcPct val="35000"/>
            </a:spcAft>
            <a:buNone/>
          </a:pPr>
          <a:r>
            <a:rPr lang="en-CA" sz="2600" kern="1200" dirty="0"/>
            <a:t>Zoom</a:t>
          </a:r>
        </a:p>
      </dsp:txBody>
      <dsp:txXfrm>
        <a:off x="0" y="915278"/>
        <a:ext cx="2971800" cy="912602"/>
      </dsp:txXfrm>
    </dsp:sp>
    <dsp:sp modelId="{1A7C0F96-CDC5-1B49-96D7-653CB66BCA31}">
      <dsp:nvSpPr>
        <dsp:cNvPr id="0" name=""/>
        <dsp:cNvSpPr/>
      </dsp:nvSpPr>
      <dsp:spPr>
        <a:xfrm>
          <a:off x="0" y="1827881"/>
          <a:ext cx="29718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570173BC-A7E0-DB4F-B642-AC71C1215A44}">
      <dsp:nvSpPr>
        <dsp:cNvPr id="0" name=""/>
        <dsp:cNvSpPr/>
      </dsp:nvSpPr>
      <dsp:spPr>
        <a:xfrm>
          <a:off x="0" y="1827881"/>
          <a:ext cx="2971800" cy="9126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rtl="0">
            <a:lnSpc>
              <a:spcPct val="90000"/>
            </a:lnSpc>
            <a:spcBef>
              <a:spcPct val="0"/>
            </a:spcBef>
            <a:spcAft>
              <a:spcPct val="35000"/>
            </a:spcAft>
            <a:buNone/>
          </a:pPr>
          <a:r>
            <a:rPr lang="en-CA" sz="2600" kern="1200" dirty="0"/>
            <a:t>Zeroes in NIL fields</a:t>
          </a:r>
        </a:p>
      </dsp:txBody>
      <dsp:txXfrm>
        <a:off x="0" y="1827881"/>
        <a:ext cx="2971800" cy="912602"/>
      </dsp:txXfrm>
    </dsp:sp>
    <dsp:sp modelId="{8F7AF9A4-999C-6448-A380-9F1B6D6493AC}">
      <dsp:nvSpPr>
        <dsp:cNvPr id="0" name=""/>
        <dsp:cNvSpPr/>
      </dsp:nvSpPr>
      <dsp:spPr>
        <a:xfrm>
          <a:off x="0" y="2740483"/>
          <a:ext cx="29718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AE21CB3B-F798-6249-A38B-7F44509142D3}">
      <dsp:nvSpPr>
        <dsp:cNvPr id="0" name=""/>
        <dsp:cNvSpPr/>
      </dsp:nvSpPr>
      <dsp:spPr>
        <a:xfrm>
          <a:off x="0" y="2740483"/>
          <a:ext cx="2971800" cy="9126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rtl="0">
            <a:lnSpc>
              <a:spcPct val="90000"/>
            </a:lnSpc>
            <a:spcBef>
              <a:spcPct val="0"/>
            </a:spcBef>
            <a:spcAft>
              <a:spcPct val="35000"/>
            </a:spcAft>
            <a:buNone/>
          </a:pPr>
          <a:r>
            <a:rPr lang="en-CA" sz="2600" kern="1200" dirty="0"/>
            <a:t>Negative brackets</a:t>
          </a:r>
        </a:p>
      </dsp:txBody>
      <dsp:txXfrm>
        <a:off x="0" y="2740483"/>
        <a:ext cx="2971800" cy="912602"/>
      </dsp:txXfrm>
    </dsp:sp>
    <dsp:sp modelId="{DFD86D5F-6D8A-F342-AFB3-6F49E6F8E32C}">
      <dsp:nvSpPr>
        <dsp:cNvPr id="0" name=""/>
        <dsp:cNvSpPr/>
      </dsp:nvSpPr>
      <dsp:spPr>
        <a:xfrm>
          <a:off x="0" y="3653085"/>
          <a:ext cx="29718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81C0C80C-1038-8C48-A38E-7BA44314D518}">
      <dsp:nvSpPr>
        <dsp:cNvPr id="0" name=""/>
        <dsp:cNvSpPr/>
      </dsp:nvSpPr>
      <dsp:spPr>
        <a:xfrm>
          <a:off x="0" y="3653085"/>
          <a:ext cx="2971800" cy="9126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rtl="0">
            <a:lnSpc>
              <a:spcPct val="90000"/>
            </a:lnSpc>
            <a:spcBef>
              <a:spcPct val="0"/>
            </a:spcBef>
            <a:spcAft>
              <a:spcPct val="35000"/>
            </a:spcAft>
            <a:buNone/>
          </a:pPr>
          <a:r>
            <a:rPr lang="en-CA" sz="2600" kern="1200" dirty="0"/>
            <a:t>Tab icons</a:t>
          </a:r>
        </a:p>
      </dsp:txBody>
      <dsp:txXfrm>
        <a:off x="0" y="3653085"/>
        <a:ext cx="2971800" cy="912602"/>
      </dsp:txXfrm>
    </dsp:sp>
    <dsp:sp modelId="{B8B443D9-FC88-E44F-9B09-AE9E5C59547F}">
      <dsp:nvSpPr>
        <dsp:cNvPr id="0" name=""/>
        <dsp:cNvSpPr/>
      </dsp:nvSpPr>
      <dsp:spPr>
        <a:xfrm>
          <a:off x="0" y="4565688"/>
          <a:ext cx="29718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623F7BAB-2940-E740-A9CE-6271C34E2AD4}">
      <dsp:nvSpPr>
        <dsp:cNvPr id="0" name=""/>
        <dsp:cNvSpPr/>
      </dsp:nvSpPr>
      <dsp:spPr>
        <a:xfrm>
          <a:off x="0" y="4565688"/>
          <a:ext cx="2971800" cy="9126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t" anchorCtr="0">
          <a:noAutofit/>
        </a:bodyPr>
        <a:lstStyle/>
        <a:p>
          <a:pPr marL="0" lvl="0" indent="0" algn="l" defTabSz="1155700" rtl="0">
            <a:lnSpc>
              <a:spcPct val="90000"/>
            </a:lnSpc>
            <a:spcBef>
              <a:spcPct val="0"/>
            </a:spcBef>
            <a:spcAft>
              <a:spcPct val="35000"/>
            </a:spcAft>
            <a:buNone/>
          </a:pPr>
          <a:r>
            <a:rPr lang="en-CA" sz="2600" kern="1200" dirty="0"/>
            <a:t>Line decimals</a:t>
          </a:r>
        </a:p>
      </dsp:txBody>
      <dsp:txXfrm>
        <a:off x="0" y="4565688"/>
        <a:ext cx="2971800" cy="912602"/>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183598" y="237"/>
          <a:ext cx="1398103" cy="1398103"/>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US" sz="3200" kern="1200" dirty="0"/>
            <a:t>page 18</a:t>
          </a:r>
        </a:p>
      </dsp:txBody>
      <dsp:txXfrm>
        <a:off x="388345" y="204984"/>
        <a:ext cx="988609" cy="988609"/>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03244B-714B-304E-B0C5-F7DB5FE29F6B}">
      <dsp:nvSpPr>
        <dsp:cNvPr id="0" name=""/>
        <dsp:cNvSpPr/>
      </dsp:nvSpPr>
      <dsp:spPr>
        <a:xfrm>
          <a:off x="0" y="2790"/>
          <a:ext cx="2514599"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88773C72-B0D0-7644-90D8-E9EF1A236A55}">
      <dsp:nvSpPr>
        <dsp:cNvPr id="0" name=""/>
        <dsp:cNvSpPr/>
      </dsp:nvSpPr>
      <dsp:spPr>
        <a:xfrm>
          <a:off x="0" y="2790"/>
          <a:ext cx="2514599" cy="19031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l" defTabSz="1600200" rtl="0">
            <a:lnSpc>
              <a:spcPct val="90000"/>
            </a:lnSpc>
            <a:spcBef>
              <a:spcPct val="0"/>
            </a:spcBef>
            <a:spcAft>
              <a:spcPct val="35000"/>
            </a:spcAft>
            <a:buNone/>
          </a:pPr>
          <a:r>
            <a:rPr lang="en-CA" sz="3600" kern="1200" dirty="0"/>
            <a:t>check for updates</a:t>
          </a:r>
        </a:p>
      </dsp:txBody>
      <dsp:txXfrm>
        <a:off x="0" y="2790"/>
        <a:ext cx="2514599" cy="1903139"/>
      </dsp:txXfrm>
    </dsp:sp>
    <dsp:sp modelId="{D8666571-9CCD-7F46-8D7D-DABF1C5D9663}">
      <dsp:nvSpPr>
        <dsp:cNvPr id="0" name=""/>
        <dsp:cNvSpPr/>
      </dsp:nvSpPr>
      <dsp:spPr>
        <a:xfrm>
          <a:off x="0" y="1905929"/>
          <a:ext cx="2514599"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BAA5A141-5E74-6C4B-B6E7-3BE750DBACDF}">
      <dsp:nvSpPr>
        <dsp:cNvPr id="0" name=""/>
        <dsp:cNvSpPr/>
      </dsp:nvSpPr>
      <dsp:spPr>
        <a:xfrm>
          <a:off x="0" y="1905929"/>
          <a:ext cx="2514599" cy="19031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l" defTabSz="1600200" rtl="0">
            <a:lnSpc>
              <a:spcPct val="90000"/>
            </a:lnSpc>
            <a:spcBef>
              <a:spcPct val="0"/>
            </a:spcBef>
            <a:spcAft>
              <a:spcPct val="35000"/>
            </a:spcAft>
            <a:buNone/>
          </a:pPr>
          <a:r>
            <a:rPr lang="en-CA" sz="3600" kern="1200" dirty="0"/>
            <a:t>live community</a:t>
          </a:r>
        </a:p>
      </dsp:txBody>
      <dsp:txXfrm>
        <a:off x="0" y="1905929"/>
        <a:ext cx="2514599" cy="1903139"/>
      </dsp:txXfrm>
    </dsp:sp>
    <dsp:sp modelId="{9616249A-3DBD-B34C-9E7D-99C8B16A9DF3}">
      <dsp:nvSpPr>
        <dsp:cNvPr id="0" name=""/>
        <dsp:cNvSpPr/>
      </dsp:nvSpPr>
      <dsp:spPr>
        <a:xfrm>
          <a:off x="0" y="3809069"/>
          <a:ext cx="2514599"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8CF3154B-A6E9-0D4F-8441-C350994C64A8}">
      <dsp:nvSpPr>
        <dsp:cNvPr id="0" name=""/>
        <dsp:cNvSpPr/>
      </dsp:nvSpPr>
      <dsp:spPr>
        <a:xfrm>
          <a:off x="0" y="3809069"/>
          <a:ext cx="2514599" cy="19031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l" defTabSz="1600200" rtl="0">
            <a:lnSpc>
              <a:spcPct val="90000"/>
            </a:lnSpc>
            <a:spcBef>
              <a:spcPct val="0"/>
            </a:spcBef>
            <a:spcAft>
              <a:spcPct val="35000"/>
            </a:spcAft>
            <a:buNone/>
          </a:pPr>
          <a:r>
            <a:rPr lang="en-CA" sz="3600" kern="1200" dirty="0"/>
            <a:t>online features</a:t>
          </a:r>
        </a:p>
      </dsp:txBody>
      <dsp:txXfrm>
        <a:off x="0" y="3809069"/>
        <a:ext cx="2514599" cy="1903139"/>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183598" y="237"/>
          <a:ext cx="1398103" cy="1398103"/>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US" sz="3200" kern="1200" dirty="0"/>
            <a:t>page 19</a:t>
          </a:r>
        </a:p>
      </dsp:txBody>
      <dsp:txXfrm>
        <a:off x="388345" y="204984"/>
        <a:ext cx="988609" cy="988609"/>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4025BF-6B5E-1242-BFB8-36912491277A}">
      <dsp:nvSpPr>
        <dsp:cNvPr id="0" name=""/>
        <dsp:cNvSpPr/>
      </dsp:nvSpPr>
      <dsp:spPr>
        <a:xfrm>
          <a:off x="0" y="2676"/>
          <a:ext cx="22860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856B2DDE-AF52-0A44-9761-4B45E7D2C8B5}">
      <dsp:nvSpPr>
        <dsp:cNvPr id="0" name=""/>
        <dsp:cNvSpPr/>
      </dsp:nvSpPr>
      <dsp:spPr>
        <a:xfrm>
          <a:off x="0" y="2676"/>
          <a:ext cx="2286000" cy="18252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5730" tIns="125730" rIns="125730" bIns="125730" numCol="1" spcCol="1270" anchor="t" anchorCtr="0">
          <a:noAutofit/>
        </a:bodyPr>
        <a:lstStyle/>
        <a:p>
          <a:pPr marL="0" lvl="0" indent="0" algn="l" defTabSz="1466850" rtl="0">
            <a:lnSpc>
              <a:spcPct val="90000"/>
            </a:lnSpc>
            <a:spcBef>
              <a:spcPct val="0"/>
            </a:spcBef>
            <a:spcAft>
              <a:spcPct val="35000"/>
            </a:spcAft>
            <a:buNone/>
          </a:pPr>
          <a:r>
            <a:rPr lang="en-CA" sz="3300" kern="1200" dirty="0"/>
            <a:t>file naming</a:t>
          </a:r>
        </a:p>
      </dsp:txBody>
      <dsp:txXfrm>
        <a:off x="0" y="2676"/>
        <a:ext cx="2286000" cy="1825205"/>
      </dsp:txXfrm>
    </dsp:sp>
    <dsp:sp modelId="{D08DC829-644B-9847-957E-FFBEA2EF819C}">
      <dsp:nvSpPr>
        <dsp:cNvPr id="0" name=""/>
        <dsp:cNvSpPr/>
      </dsp:nvSpPr>
      <dsp:spPr>
        <a:xfrm>
          <a:off x="0" y="1827882"/>
          <a:ext cx="22860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82F032D1-BE09-5D43-8888-B41EB3B2482E}">
      <dsp:nvSpPr>
        <dsp:cNvPr id="0" name=""/>
        <dsp:cNvSpPr/>
      </dsp:nvSpPr>
      <dsp:spPr>
        <a:xfrm>
          <a:off x="0" y="1827882"/>
          <a:ext cx="2286000" cy="18252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5730" tIns="125730" rIns="125730" bIns="125730" numCol="1" spcCol="1270" anchor="t" anchorCtr="0">
          <a:noAutofit/>
        </a:bodyPr>
        <a:lstStyle/>
        <a:p>
          <a:pPr marL="0" lvl="0" indent="0" algn="l" defTabSz="1466850" rtl="0">
            <a:lnSpc>
              <a:spcPct val="90000"/>
            </a:lnSpc>
            <a:spcBef>
              <a:spcPct val="0"/>
            </a:spcBef>
            <a:spcAft>
              <a:spcPct val="35000"/>
            </a:spcAft>
            <a:buNone/>
          </a:pPr>
          <a:r>
            <a:rPr lang="en-CA" sz="3300" kern="1200" dirty="0"/>
            <a:t>file location</a:t>
          </a:r>
        </a:p>
      </dsp:txBody>
      <dsp:txXfrm>
        <a:off x="0" y="1827882"/>
        <a:ext cx="2286000" cy="1825205"/>
      </dsp:txXfrm>
    </dsp:sp>
    <dsp:sp modelId="{1AA4A319-85ED-CF41-8575-04816BB535FB}">
      <dsp:nvSpPr>
        <dsp:cNvPr id="0" name=""/>
        <dsp:cNvSpPr/>
      </dsp:nvSpPr>
      <dsp:spPr>
        <a:xfrm>
          <a:off x="0" y="3653087"/>
          <a:ext cx="22860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54323AE8-93F3-8D4C-AC06-F7D57962EF7D}">
      <dsp:nvSpPr>
        <dsp:cNvPr id="0" name=""/>
        <dsp:cNvSpPr/>
      </dsp:nvSpPr>
      <dsp:spPr>
        <a:xfrm>
          <a:off x="0" y="3653087"/>
          <a:ext cx="2286000" cy="18252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5730" tIns="125730" rIns="125730" bIns="125730" numCol="1" spcCol="1270" anchor="t" anchorCtr="0">
          <a:noAutofit/>
        </a:bodyPr>
        <a:lstStyle/>
        <a:p>
          <a:pPr marL="0" lvl="0" indent="0" algn="l" defTabSz="1466850" rtl="0">
            <a:lnSpc>
              <a:spcPct val="90000"/>
            </a:lnSpc>
            <a:spcBef>
              <a:spcPct val="0"/>
            </a:spcBef>
            <a:spcAft>
              <a:spcPct val="35000"/>
            </a:spcAft>
            <a:buNone/>
          </a:pPr>
          <a:r>
            <a:rPr lang="en-CA" sz="3300" kern="1200" dirty="0"/>
            <a:t>pdf passwords</a:t>
          </a:r>
        </a:p>
      </dsp:txBody>
      <dsp:txXfrm>
        <a:off x="0" y="3653087"/>
        <a:ext cx="2286000" cy="1825205"/>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183598" y="237"/>
          <a:ext cx="1398103" cy="1398103"/>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US" sz="3200" kern="1200" dirty="0"/>
            <a:t>page 20</a:t>
          </a:r>
        </a:p>
      </dsp:txBody>
      <dsp:txXfrm>
        <a:off x="388345" y="204984"/>
        <a:ext cx="988609" cy="988609"/>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B51E74-62F7-9640-892E-6DBB3F8D373A}">
      <dsp:nvSpPr>
        <dsp:cNvPr id="0" name=""/>
        <dsp:cNvSpPr/>
      </dsp:nvSpPr>
      <dsp:spPr>
        <a:xfrm>
          <a:off x="0" y="2455"/>
          <a:ext cx="22860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3E83B2CF-EE03-2541-B218-3932180F8FEB}">
      <dsp:nvSpPr>
        <dsp:cNvPr id="0" name=""/>
        <dsp:cNvSpPr/>
      </dsp:nvSpPr>
      <dsp:spPr>
        <a:xfrm>
          <a:off x="0" y="2455"/>
          <a:ext cx="2286000" cy="16747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350" tIns="133350" rIns="133350" bIns="133350" numCol="1" spcCol="1270" anchor="t" anchorCtr="0">
          <a:noAutofit/>
        </a:bodyPr>
        <a:lstStyle/>
        <a:p>
          <a:pPr marL="0" lvl="0" indent="0" algn="l" defTabSz="1555750" rtl="0">
            <a:lnSpc>
              <a:spcPct val="90000"/>
            </a:lnSpc>
            <a:spcBef>
              <a:spcPct val="0"/>
            </a:spcBef>
            <a:spcAft>
              <a:spcPct val="35000"/>
            </a:spcAft>
            <a:buNone/>
          </a:pPr>
          <a:r>
            <a:rPr lang="en-CA" sz="3500" kern="1200" dirty="0"/>
            <a:t>New file defaults</a:t>
          </a:r>
        </a:p>
      </dsp:txBody>
      <dsp:txXfrm>
        <a:off x="0" y="2455"/>
        <a:ext cx="2286000" cy="1674762"/>
      </dsp:txXfrm>
    </dsp:sp>
    <dsp:sp modelId="{46211FA1-1747-724F-8F98-66D06F0FAF0B}">
      <dsp:nvSpPr>
        <dsp:cNvPr id="0" name=""/>
        <dsp:cNvSpPr/>
      </dsp:nvSpPr>
      <dsp:spPr>
        <a:xfrm>
          <a:off x="0" y="1677218"/>
          <a:ext cx="22860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6796CDED-5677-034B-8624-FCA398960B2B}">
      <dsp:nvSpPr>
        <dsp:cNvPr id="0" name=""/>
        <dsp:cNvSpPr/>
      </dsp:nvSpPr>
      <dsp:spPr>
        <a:xfrm>
          <a:off x="0" y="1677218"/>
          <a:ext cx="2286000" cy="16747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350" tIns="133350" rIns="133350" bIns="133350" numCol="1" spcCol="1270" anchor="t" anchorCtr="0">
          <a:noAutofit/>
        </a:bodyPr>
        <a:lstStyle/>
        <a:p>
          <a:pPr marL="0" lvl="0" indent="0" algn="l" defTabSz="1555750" rtl="0">
            <a:lnSpc>
              <a:spcPct val="90000"/>
            </a:lnSpc>
            <a:spcBef>
              <a:spcPct val="0"/>
            </a:spcBef>
            <a:spcAft>
              <a:spcPct val="35000"/>
            </a:spcAft>
            <a:buNone/>
          </a:pPr>
          <a:r>
            <a:rPr lang="en-CA" sz="3500" kern="1200" dirty="0"/>
            <a:t>Carry forward defaults</a:t>
          </a:r>
        </a:p>
      </dsp:txBody>
      <dsp:txXfrm>
        <a:off x="0" y="1677218"/>
        <a:ext cx="2286000" cy="1674762"/>
      </dsp:txXfrm>
    </dsp:sp>
    <dsp:sp modelId="{2704E17B-BBCB-AA4A-BA42-8BA0BCB8691E}">
      <dsp:nvSpPr>
        <dsp:cNvPr id="0" name=""/>
        <dsp:cNvSpPr/>
      </dsp:nvSpPr>
      <dsp:spPr>
        <a:xfrm>
          <a:off x="0" y="3351981"/>
          <a:ext cx="22860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1C8C523D-09E8-D142-89DF-23A574CE46AF}">
      <dsp:nvSpPr>
        <dsp:cNvPr id="0" name=""/>
        <dsp:cNvSpPr/>
      </dsp:nvSpPr>
      <dsp:spPr>
        <a:xfrm>
          <a:off x="0" y="3351981"/>
          <a:ext cx="2286000" cy="16747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350" tIns="133350" rIns="133350" bIns="133350" numCol="1" spcCol="1270" anchor="t" anchorCtr="0">
          <a:noAutofit/>
        </a:bodyPr>
        <a:lstStyle/>
        <a:p>
          <a:pPr marL="0" lvl="0" indent="0" algn="l" defTabSz="1555750" rtl="0">
            <a:lnSpc>
              <a:spcPct val="90000"/>
            </a:lnSpc>
            <a:spcBef>
              <a:spcPct val="0"/>
            </a:spcBef>
            <a:spcAft>
              <a:spcPct val="35000"/>
            </a:spcAft>
            <a:buNone/>
          </a:pPr>
          <a:r>
            <a:rPr lang="en-CA" sz="3500" kern="1200" dirty="0"/>
            <a:t>Language options</a:t>
          </a:r>
        </a:p>
      </dsp:txBody>
      <dsp:txXfrm>
        <a:off x="0" y="3351981"/>
        <a:ext cx="2286000" cy="1674762"/>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198744" y="564"/>
          <a:ext cx="1403521" cy="1403521"/>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US" sz="3200" kern="1200" dirty="0"/>
            <a:t>page 21</a:t>
          </a:r>
        </a:p>
      </dsp:txBody>
      <dsp:txXfrm>
        <a:off x="404285" y="206105"/>
        <a:ext cx="992439" cy="99243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ECAA99-9346-2D4B-AA63-D81F4FA0DC5A}">
      <dsp:nvSpPr>
        <dsp:cNvPr id="0" name=""/>
        <dsp:cNvSpPr/>
      </dsp:nvSpPr>
      <dsp:spPr>
        <a:xfrm>
          <a:off x="0" y="0"/>
          <a:ext cx="67056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53A052C4-25A7-5941-A535-3249D483223F}">
      <dsp:nvSpPr>
        <dsp:cNvPr id="0" name=""/>
        <dsp:cNvSpPr/>
      </dsp:nvSpPr>
      <dsp:spPr>
        <a:xfrm>
          <a:off x="0" y="0"/>
          <a:ext cx="1341120" cy="23621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en-US" sz="2100" kern="1200" dirty="0"/>
            <a:t>Flexible licensing</a:t>
          </a:r>
        </a:p>
      </dsp:txBody>
      <dsp:txXfrm>
        <a:off x="0" y="0"/>
        <a:ext cx="1341120" cy="2362199"/>
      </dsp:txXfrm>
    </dsp:sp>
    <dsp:sp modelId="{9602B4E8-F1DA-4F4B-87D6-2F8CE7D718B8}">
      <dsp:nvSpPr>
        <dsp:cNvPr id="0" name=""/>
        <dsp:cNvSpPr/>
      </dsp:nvSpPr>
      <dsp:spPr>
        <a:xfrm>
          <a:off x="1441704" y="54902"/>
          <a:ext cx="5263896" cy="10980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9070" tIns="179070" rIns="179070" bIns="179070" numCol="1" spcCol="1270" anchor="t" anchorCtr="0">
          <a:noAutofit/>
        </a:bodyPr>
        <a:lstStyle/>
        <a:p>
          <a:pPr marL="0" lvl="0" indent="0" algn="l" defTabSz="2089150">
            <a:lnSpc>
              <a:spcPct val="90000"/>
            </a:lnSpc>
            <a:spcBef>
              <a:spcPct val="0"/>
            </a:spcBef>
            <a:spcAft>
              <a:spcPct val="35000"/>
            </a:spcAft>
            <a:buNone/>
          </a:pPr>
          <a:r>
            <a:rPr lang="en-US" sz="4700" kern="1200" dirty="0"/>
            <a:t>What is it?</a:t>
          </a:r>
        </a:p>
      </dsp:txBody>
      <dsp:txXfrm>
        <a:off x="1441704" y="54902"/>
        <a:ext cx="5263896" cy="1098053"/>
      </dsp:txXfrm>
    </dsp:sp>
    <dsp:sp modelId="{02A658A8-39FB-B14A-AB70-855693CF36C3}">
      <dsp:nvSpPr>
        <dsp:cNvPr id="0" name=""/>
        <dsp:cNvSpPr/>
      </dsp:nvSpPr>
      <dsp:spPr>
        <a:xfrm>
          <a:off x="1341120" y="1152956"/>
          <a:ext cx="536448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 modelId="{61512A88-45FB-0D4B-9D95-D8542A6FC623}">
      <dsp:nvSpPr>
        <dsp:cNvPr id="0" name=""/>
        <dsp:cNvSpPr/>
      </dsp:nvSpPr>
      <dsp:spPr>
        <a:xfrm>
          <a:off x="1441704" y="1207859"/>
          <a:ext cx="5263896" cy="10980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9070" tIns="179070" rIns="179070" bIns="179070" numCol="1" spcCol="1270" anchor="t" anchorCtr="0">
          <a:noAutofit/>
        </a:bodyPr>
        <a:lstStyle/>
        <a:p>
          <a:pPr marL="0" lvl="0" indent="0" algn="l" defTabSz="2089150">
            <a:lnSpc>
              <a:spcPct val="90000"/>
            </a:lnSpc>
            <a:spcBef>
              <a:spcPct val="0"/>
            </a:spcBef>
            <a:spcAft>
              <a:spcPct val="35000"/>
            </a:spcAft>
            <a:buNone/>
          </a:pPr>
          <a:r>
            <a:rPr lang="en-US" sz="4700" kern="1200" dirty="0"/>
            <a:t>How does it work?</a:t>
          </a:r>
        </a:p>
      </dsp:txBody>
      <dsp:txXfrm>
        <a:off x="1441704" y="1207859"/>
        <a:ext cx="5263896" cy="1098053"/>
      </dsp:txXfrm>
    </dsp:sp>
    <dsp:sp modelId="{BB69D96F-9903-5940-8DD3-FAD778BDBEA8}">
      <dsp:nvSpPr>
        <dsp:cNvPr id="0" name=""/>
        <dsp:cNvSpPr/>
      </dsp:nvSpPr>
      <dsp:spPr>
        <a:xfrm>
          <a:off x="1341120" y="2305913"/>
          <a:ext cx="536448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 modelId="{825B594B-4CAA-7146-AA24-D8D762D39237}">
      <dsp:nvSpPr>
        <dsp:cNvPr id="0" name=""/>
        <dsp:cNvSpPr/>
      </dsp:nvSpPr>
      <dsp:spPr>
        <a:xfrm>
          <a:off x="0" y="2362199"/>
          <a:ext cx="67056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EBB63FF4-924C-0B4E-A232-34849FA42CC0}">
      <dsp:nvSpPr>
        <dsp:cNvPr id="0" name=""/>
        <dsp:cNvSpPr/>
      </dsp:nvSpPr>
      <dsp:spPr>
        <a:xfrm>
          <a:off x="0" y="2362199"/>
          <a:ext cx="1341120" cy="23621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en-US" sz="2100" kern="1200" dirty="0"/>
            <a:t>Maximum licenses</a:t>
          </a:r>
        </a:p>
      </dsp:txBody>
      <dsp:txXfrm>
        <a:off x="0" y="2362199"/>
        <a:ext cx="1341120" cy="2362199"/>
      </dsp:txXfrm>
    </dsp:sp>
    <dsp:sp modelId="{F78B847B-5FDB-0541-B1A2-F3CA1B19C7B1}">
      <dsp:nvSpPr>
        <dsp:cNvPr id="0" name=""/>
        <dsp:cNvSpPr/>
      </dsp:nvSpPr>
      <dsp:spPr>
        <a:xfrm>
          <a:off x="1441704" y="2417102"/>
          <a:ext cx="5263896" cy="10980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9070" tIns="179070" rIns="179070" bIns="179070" numCol="1" spcCol="1270" anchor="t" anchorCtr="0">
          <a:noAutofit/>
        </a:bodyPr>
        <a:lstStyle/>
        <a:p>
          <a:pPr marL="0" lvl="0" indent="0" algn="l" defTabSz="2089150">
            <a:lnSpc>
              <a:spcPct val="90000"/>
            </a:lnSpc>
            <a:spcBef>
              <a:spcPct val="0"/>
            </a:spcBef>
            <a:spcAft>
              <a:spcPct val="35000"/>
            </a:spcAft>
            <a:buNone/>
          </a:pPr>
          <a:r>
            <a:rPr lang="en-US" sz="4700" kern="1200" dirty="0"/>
            <a:t>License overused</a:t>
          </a:r>
        </a:p>
      </dsp:txBody>
      <dsp:txXfrm>
        <a:off x="1441704" y="2417102"/>
        <a:ext cx="5263896" cy="1098053"/>
      </dsp:txXfrm>
    </dsp:sp>
    <dsp:sp modelId="{832A7E8E-6DE2-FF43-BFA2-CC80266EC572}">
      <dsp:nvSpPr>
        <dsp:cNvPr id="0" name=""/>
        <dsp:cNvSpPr/>
      </dsp:nvSpPr>
      <dsp:spPr>
        <a:xfrm>
          <a:off x="1341120" y="3515156"/>
          <a:ext cx="536448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 modelId="{7A343DD1-4340-7146-A756-9EE5305E22DF}">
      <dsp:nvSpPr>
        <dsp:cNvPr id="0" name=""/>
        <dsp:cNvSpPr/>
      </dsp:nvSpPr>
      <dsp:spPr>
        <a:xfrm>
          <a:off x="1441704" y="3570059"/>
          <a:ext cx="5263896" cy="10980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9070" tIns="179070" rIns="179070" bIns="179070" numCol="1" spcCol="1270" anchor="t" anchorCtr="0">
          <a:noAutofit/>
        </a:bodyPr>
        <a:lstStyle/>
        <a:p>
          <a:pPr marL="0" lvl="0" indent="0" algn="l" defTabSz="2089150">
            <a:lnSpc>
              <a:spcPct val="90000"/>
            </a:lnSpc>
            <a:spcBef>
              <a:spcPct val="0"/>
            </a:spcBef>
            <a:spcAft>
              <a:spcPct val="35000"/>
            </a:spcAft>
            <a:buNone/>
          </a:pPr>
          <a:r>
            <a:rPr lang="en-US" sz="4700" kern="1200" dirty="0"/>
            <a:t>How to prevent?</a:t>
          </a:r>
        </a:p>
      </dsp:txBody>
      <dsp:txXfrm>
        <a:off x="1441704" y="3570059"/>
        <a:ext cx="5263896" cy="1098053"/>
      </dsp:txXfrm>
    </dsp:sp>
    <dsp:sp modelId="{7E37D2E0-F81D-F547-B5E9-B8E04030A8E1}">
      <dsp:nvSpPr>
        <dsp:cNvPr id="0" name=""/>
        <dsp:cNvSpPr/>
      </dsp:nvSpPr>
      <dsp:spPr>
        <a:xfrm>
          <a:off x="1341120" y="4668113"/>
          <a:ext cx="536448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4FD788-38BE-AE46-BF43-EFB67954B1F0}">
      <dsp:nvSpPr>
        <dsp:cNvPr id="0" name=""/>
        <dsp:cNvSpPr/>
      </dsp:nvSpPr>
      <dsp:spPr>
        <a:xfrm>
          <a:off x="0" y="2641"/>
          <a:ext cx="21336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DA5B13BF-EE27-6C4B-8DAF-08E21492CE70}">
      <dsp:nvSpPr>
        <dsp:cNvPr id="0" name=""/>
        <dsp:cNvSpPr/>
      </dsp:nvSpPr>
      <dsp:spPr>
        <a:xfrm>
          <a:off x="0" y="2641"/>
          <a:ext cx="2133600" cy="18016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l" defTabSz="1600200" rtl="0">
            <a:lnSpc>
              <a:spcPct val="90000"/>
            </a:lnSpc>
            <a:spcBef>
              <a:spcPct val="0"/>
            </a:spcBef>
            <a:spcAft>
              <a:spcPct val="35000"/>
            </a:spcAft>
            <a:buNone/>
          </a:pPr>
          <a:r>
            <a:rPr lang="en-CA" sz="3600" kern="1200" dirty="0"/>
            <a:t>File creation warnings</a:t>
          </a:r>
        </a:p>
      </dsp:txBody>
      <dsp:txXfrm>
        <a:off x="0" y="2641"/>
        <a:ext cx="2133600" cy="1801638"/>
      </dsp:txXfrm>
    </dsp:sp>
    <dsp:sp modelId="{2005B60A-3919-2447-8181-556AD7EDEFDD}">
      <dsp:nvSpPr>
        <dsp:cNvPr id="0" name=""/>
        <dsp:cNvSpPr/>
      </dsp:nvSpPr>
      <dsp:spPr>
        <a:xfrm>
          <a:off x="0" y="1804280"/>
          <a:ext cx="21336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B2E3E964-BA1C-7643-877C-F572E5701DD1}">
      <dsp:nvSpPr>
        <dsp:cNvPr id="0" name=""/>
        <dsp:cNvSpPr/>
      </dsp:nvSpPr>
      <dsp:spPr>
        <a:xfrm>
          <a:off x="0" y="1804280"/>
          <a:ext cx="2133600" cy="18016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l" defTabSz="1600200" rtl="0">
            <a:lnSpc>
              <a:spcPct val="90000"/>
            </a:lnSpc>
            <a:spcBef>
              <a:spcPct val="0"/>
            </a:spcBef>
            <a:spcAft>
              <a:spcPct val="35000"/>
            </a:spcAft>
            <a:buNone/>
          </a:pPr>
          <a:r>
            <a:rPr lang="en-CA" sz="3600" kern="1200" dirty="0"/>
            <a:t>Client status locking</a:t>
          </a:r>
        </a:p>
      </dsp:txBody>
      <dsp:txXfrm>
        <a:off x="0" y="1804280"/>
        <a:ext cx="2133600" cy="1801638"/>
      </dsp:txXfrm>
    </dsp:sp>
    <dsp:sp modelId="{92292984-DFB7-2F42-875D-A343BE458513}">
      <dsp:nvSpPr>
        <dsp:cNvPr id="0" name=""/>
        <dsp:cNvSpPr/>
      </dsp:nvSpPr>
      <dsp:spPr>
        <a:xfrm>
          <a:off x="0" y="3605919"/>
          <a:ext cx="21336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79455BCE-7746-AF4E-AEEA-DE3985F3EF9E}">
      <dsp:nvSpPr>
        <dsp:cNvPr id="0" name=""/>
        <dsp:cNvSpPr/>
      </dsp:nvSpPr>
      <dsp:spPr>
        <a:xfrm>
          <a:off x="0" y="3605919"/>
          <a:ext cx="2133600" cy="18016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l" defTabSz="1600200" rtl="0">
            <a:lnSpc>
              <a:spcPct val="90000"/>
            </a:lnSpc>
            <a:spcBef>
              <a:spcPct val="0"/>
            </a:spcBef>
            <a:spcAft>
              <a:spcPct val="35000"/>
            </a:spcAft>
            <a:buNone/>
          </a:pPr>
          <a:r>
            <a:rPr lang="en-CA" sz="3600" kern="1200" dirty="0"/>
            <a:t>EFILE status locking</a:t>
          </a:r>
        </a:p>
      </dsp:txBody>
      <dsp:txXfrm>
        <a:off x="0" y="3605919"/>
        <a:ext cx="2133600" cy="1801638"/>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26095" y="373"/>
          <a:ext cx="1414920" cy="1414920"/>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US" sz="3200" kern="1200" dirty="0"/>
            <a:t>page 22</a:t>
          </a:r>
        </a:p>
      </dsp:txBody>
      <dsp:txXfrm>
        <a:off x="433305" y="207583"/>
        <a:ext cx="1000500" cy="1000500"/>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0AD4AC-326F-DD44-A852-57EADD4BF912}">
      <dsp:nvSpPr>
        <dsp:cNvPr id="0" name=""/>
        <dsp:cNvSpPr/>
      </dsp:nvSpPr>
      <dsp:spPr>
        <a:xfrm>
          <a:off x="0" y="0"/>
          <a:ext cx="1867111"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B53EED02-E5AD-084A-BFC0-1A1E83F5CE0D}">
      <dsp:nvSpPr>
        <dsp:cNvPr id="0" name=""/>
        <dsp:cNvSpPr/>
      </dsp:nvSpPr>
      <dsp:spPr>
        <a:xfrm>
          <a:off x="0" y="0"/>
          <a:ext cx="1867111" cy="22818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rtl="0">
            <a:lnSpc>
              <a:spcPct val="90000"/>
            </a:lnSpc>
            <a:spcBef>
              <a:spcPct val="0"/>
            </a:spcBef>
            <a:spcAft>
              <a:spcPct val="35000"/>
            </a:spcAft>
            <a:buNone/>
          </a:pPr>
          <a:r>
            <a:rPr lang="en-CA" sz="2800" kern="1200" dirty="0"/>
            <a:t>Standard disclaimer</a:t>
          </a:r>
        </a:p>
      </dsp:txBody>
      <dsp:txXfrm>
        <a:off x="0" y="0"/>
        <a:ext cx="1867111" cy="2281888"/>
      </dsp:txXfrm>
    </dsp:sp>
    <dsp:sp modelId="{F6EDED4E-A7F9-C14F-8BCF-654DDB0D9F93}">
      <dsp:nvSpPr>
        <dsp:cNvPr id="0" name=""/>
        <dsp:cNvSpPr/>
      </dsp:nvSpPr>
      <dsp:spPr>
        <a:xfrm>
          <a:off x="0" y="2281888"/>
          <a:ext cx="1867111"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B071FF6D-D083-5E44-BB54-10D70B88B6C7}">
      <dsp:nvSpPr>
        <dsp:cNvPr id="0" name=""/>
        <dsp:cNvSpPr/>
      </dsp:nvSpPr>
      <dsp:spPr>
        <a:xfrm>
          <a:off x="0" y="2281888"/>
          <a:ext cx="1867111" cy="22818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rtl="0">
            <a:lnSpc>
              <a:spcPct val="90000"/>
            </a:lnSpc>
            <a:spcBef>
              <a:spcPct val="0"/>
            </a:spcBef>
            <a:spcAft>
              <a:spcPct val="35000"/>
            </a:spcAft>
            <a:buNone/>
          </a:pPr>
          <a:r>
            <a:rPr lang="en-CA" sz="2800" kern="1200" dirty="0"/>
            <a:t>Business disclaimer</a:t>
          </a:r>
        </a:p>
      </dsp:txBody>
      <dsp:txXfrm>
        <a:off x="0" y="2281888"/>
        <a:ext cx="1867111" cy="2281888"/>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26095" y="373"/>
          <a:ext cx="1414920" cy="1414920"/>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US" sz="3200" kern="1200" dirty="0"/>
            <a:t>page 23</a:t>
          </a:r>
        </a:p>
      </dsp:txBody>
      <dsp:txXfrm>
        <a:off x="433305" y="207583"/>
        <a:ext cx="1000500" cy="1000500"/>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26095" y="373"/>
          <a:ext cx="1414920" cy="1414920"/>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US" sz="3200" kern="1200" dirty="0"/>
            <a:t>page 24</a:t>
          </a:r>
        </a:p>
      </dsp:txBody>
      <dsp:txXfrm>
        <a:off x="433305" y="207583"/>
        <a:ext cx="1000500" cy="1000500"/>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D1BC9C-BB3C-4042-907B-ACECE9B8D9DA}">
      <dsp:nvSpPr>
        <dsp:cNvPr id="0" name=""/>
        <dsp:cNvSpPr/>
      </dsp:nvSpPr>
      <dsp:spPr>
        <a:xfrm>
          <a:off x="0" y="0"/>
          <a:ext cx="21336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EFA6A09C-256E-1543-8FB6-FDA83C69EC93}">
      <dsp:nvSpPr>
        <dsp:cNvPr id="0" name=""/>
        <dsp:cNvSpPr/>
      </dsp:nvSpPr>
      <dsp:spPr>
        <a:xfrm>
          <a:off x="0" y="0"/>
          <a:ext cx="2133600" cy="46863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970" tIns="140970" rIns="140970" bIns="140970" numCol="1" spcCol="1270" anchor="t" anchorCtr="0">
          <a:noAutofit/>
        </a:bodyPr>
        <a:lstStyle/>
        <a:p>
          <a:pPr marL="0" lvl="0" indent="0" algn="l" defTabSz="1644650" rtl="0">
            <a:lnSpc>
              <a:spcPct val="90000"/>
            </a:lnSpc>
            <a:spcBef>
              <a:spcPct val="0"/>
            </a:spcBef>
            <a:spcAft>
              <a:spcPct val="35000"/>
            </a:spcAft>
            <a:buNone/>
          </a:pPr>
          <a:r>
            <a:rPr lang="en-CA" sz="3700" kern="1200" dirty="0"/>
            <a:t>letters template</a:t>
          </a:r>
        </a:p>
      </dsp:txBody>
      <dsp:txXfrm>
        <a:off x="0" y="0"/>
        <a:ext cx="2133600" cy="4686301"/>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423E40-546B-6848-A130-772B49BFF901}">
      <dsp:nvSpPr>
        <dsp:cNvPr id="0" name=""/>
        <dsp:cNvSpPr/>
      </dsp:nvSpPr>
      <dsp:spPr>
        <a:xfrm>
          <a:off x="0" y="0"/>
          <a:ext cx="30480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9F3550A8-C527-544F-B87C-C2ED37BB573D}">
      <dsp:nvSpPr>
        <dsp:cNvPr id="0" name=""/>
        <dsp:cNvSpPr/>
      </dsp:nvSpPr>
      <dsp:spPr>
        <a:xfrm>
          <a:off x="0" y="0"/>
          <a:ext cx="3048000" cy="11525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5730" tIns="125730" rIns="125730" bIns="125730" numCol="1" spcCol="1270" anchor="t" anchorCtr="0">
          <a:noAutofit/>
        </a:bodyPr>
        <a:lstStyle/>
        <a:p>
          <a:pPr marL="0" lvl="0" indent="0" algn="l" defTabSz="1466850" rtl="0">
            <a:lnSpc>
              <a:spcPct val="90000"/>
            </a:lnSpc>
            <a:spcBef>
              <a:spcPct val="0"/>
            </a:spcBef>
            <a:spcAft>
              <a:spcPct val="35000"/>
            </a:spcAft>
            <a:buNone/>
          </a:pPr>
          <a:r>
            <a:rPr lang="en-CA" sz="3300" kern="1200" dirty="0"/>
            <a:t>Module specific</a:t>
          </a:r>
        </a:p>
      </dsp:txBody>
      <dsp:txXfrm>
        <a:off x="0" y="0"/>
        <a:ext cx="3048000" cy="1152525"/>
      </dsp:txXfrm>
    </dsp:sp>
    <dsp:sp modelId="{E150E1FE-6ADA-BF40-86C4-48C54532161D}">
      <dsp:nvSpPr>
        <dsp:cNvPr id="0" name=""/>
        <dsp:cNvSpPr/>
      </dsp:nvSpPr>
      <dsp:spPr>
        <a:xfrm>
          <a:off x="0" y="1152525"/>
          <a:ext cx="30480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33F1761E-4FCE-5149-90A2-807F4A57833A}">
      <dsp:nvSpPr>
        <dsp:cNvPr id="0" name=""/>
        <dsp:cNvSpPr/>
      </dsp:nvSpPr>
      <dsp:spPr>
        <a:xfrm>
          <a:off x="0" y="1152525"/>
          <a:ext cx="3048000" cy="11525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5730" tIns="125730" rIns="125730" bIns="125730" numCol="1" spcCol="1270" anchor="t" anchorCtr="0">
          <a:noAutofit/>
        </a:bodyPr>
        <a:lstStyle/>
        <a:p>
          <a:pPr marL="0" lvl="0" indent="0" algn="l" defTabSz="1466850" rtl="0">
            <a:lnSpc>
              <a:spcPct val="90000"/>
            </a:lnSpc>
            <a:spcBef>
              <a:spcPct val="0"/>
            </a:spcBef>
            <a:spcAft>
              <a:spcPct val="35000"/>
            </a:spcAft>
            <a:buNone/>
          </a:pPr>
          <a:r>
            <a:rPr lang="en-CA" sz="3300" kern="1200" dirty="0"/>
            <a:t>Print job options </a:t>
          </a:r>
        </a:p>
      </dsp:txBody>
      <dsp:txXfrm>
        <a:off x="0" y="1152525"/>
        <a:ext cx="3048000" cy="1152525"/>
      </dsp:txXfrm>
    </dsp:sp>
    <dsp:sp modelId="{C767301B-3A73-0643-B523-3C80510AD1F9}">
      <dsp:nvSpPr>
        <dsp:cNvPr id="0" name=""/>
        <dsp:cNvSpPr/>
      </dsp:nvSpPr>
      <dsp:spPr>
        <a:xfrm>
          <a:off x="0" y="2305050"/>
          <a:ext cx="30480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E1FBB68F-59FA-F547-82C3-FA1EBEA8C252}">
      <dsp:nvSpPr>
        <dsp:cNvPr id="0" name=""/>
        <dsp:cNvSpPr/>
      </dsp:nvSpPr>
      <dsp:spPr>
        <a:xfrm>
          <a:off x="0" y="2305050"/>
          <a:ext cx="3048000" cy="11525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5730" tIns="125730" rIns="125730" bIns="125730" numCol="1" spcCol="1270" anchor="t" anchorCtr="0">
          <a:noAutofit/>
        </a:bodyPr>
        <a:lstStyle/>
        <a:p>
          <a:pPr marL="0" lvl="0" indent="0" algn="l" defTabSz="1466850" rtl="0">
            <a:lnSpc>
              <a:spcPct val="90000"/>
            </a:lnSpc>
            <a:spcBef>
              <a:spcPct val="0"/>
            </a:spcBef>
            <a:spcAft>
              <a:spcPct val="35000"/>
            </a:spcAft>
            <a:buNone/>
          </a:pPr>
          <a:r>
            <a:rPr lang="en-CA" sz="3300" kern="1200" dirty="0"/>
            <a:t>Default status</a:t>
          </a:r>
        </a:p>
      </dsp:txBody>
      <dsp:txXfrm>
        <a:off x="0" y="2305050"/>
        <a:ext cx="3048000" cy="1152525"/>
      </dsp:txXfrm>
    </dsp:sp>
    <dsp:sp modelId="{A8C1CF43-877E-3B4F-9869-8FFAD5D25063}">
      <dsp:nvSpPr>
        <dsp:cNvPr id="0" name=""/>
        <dsp:cNvSpPr/>
      </dsp:nvSpPr>
      <dsp:spPr>
        <a:xfrm>
          <a:off x="0" y="3457575"/>
          <a:ext cx="30480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AD400192-7934-FB4C-917B-C8901803F3D3}">
      <dsp:nvSpPr>
        <dsp:cNvPr id="0" name=""/>
        <dsp:cNvSpPr/>
      </dsp:nvSpPr>
      <dsp:spPr>
        <a:xfrm>
          <a:off x="0" y="3457575"/>
          <a:ext cx="3048000" cy="11525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5730" tIns="125730" rIns="125730" bIns="125730" numCol="1" spcCol="1270" anchor="t" anchorCtr="0">
          <a:noAutofit/>
        </a:bodyPr>
        <a:lstStyle/>
        <a:p>
          <a:pPr marL="0" lvl="0" indent="0" algn="l" defTabSz="1466850" rtl="0">
            <a:lnSpc>
              <a:spcPct val="90000"/>
            </a:lnSpc>
            <a:spcBef>
              <a:spcPct val="0"/>
            </a:spcBef>
            <a:spcAft>
              <a:spcPct val="35000"/>
            </a:spcAft>
            <a:buNone/>
          </a:pPr>
          <a:r>
            <a:rPr lang="en-CA" sz="3300" kern="1200" dirty="0"/>
            <a:t>Environment  - PDF</a:t>
          </a:r>
        </a:p>
      </dsp:txBody>
      <dsp:txXfrm>
        <a:off x="0" y="3457575"/>
        <a:ext cx="3048000" cy="1152525"/>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26095" y="373"/>
          <a:ext cx="1414920" cy="1414920"/>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US" sz="3200" kern="1200" dirty="0"/>
            <a:t>page 29</a:t>
          </a:r>
        </a:p>
      </dsp:txBody>
      <dsp:txXfrm>
        <a:off x="433305" y="207583"/>
        <a:ext cx="1000500" cy="1000500"/>
      </dsp:txXfrm>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6838D9-0680-D144-B299-263D9A9141F0}">
      <dsp:nvSpPr>
        <dsp:cNvPr id="0" name=""/>
        <dsp:cNvSpPr/>
      </dsp:nvSpPr>
      <dsp:spPr>
        <a:xfrm>
          <a:off x="0" y="0"/>
          <a:ext cx="21336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13930B3A-C44D-C74D-BCC5-395B739F6ACA}">
      <dsp:nvSpPr>
        <dsp:cNvPr id="0" name=""/>
        <dsp:cNvSpPr/>
      </dsp:nvSpPr>
      <dsp:spPr>
        <a:xfrm>
          <a:off x="0" y="0"/>
          <a:ext cx="2133600" cy="11810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870" tIns="102870" rIns="102870" bIns="102870" numCol="1" spcCol="1270" anchor="t" anchorCtr="0">
          <a:noAutofit/>
        </a:bodyPr>
        <a:lstStyle/>
        <a:p>
          <a:pPr marL="0" lvl="0" indent="0" algn="l" defTabSz="1200150" rtl="0">
            <a:lnSpc>
              <a:spcPct val="90000"/>
            </a:lnSpc>
            <a:spcBef>
              <a:spcPct val="0"/>
            </a:spcBef>
            <a:spcAft>
              <a:spcPct val="35000"/>
            </a:spcAft>
            <a:buNone/>
          </a:pPr>
          <a:r>
            <a:rPr lang="en-CA" sz="2700" kern="1200" dirty="0"/>
            <a:t>Module specific</a:t>
          </a:r>
        </a:p>
      </dsp:txBody>
      <dsp:txXfrm>
        <a:off x="0" y="0"/>
        <a:ext cx="2133600" cy="1181099"/>
      </dsp:txXfrm>
    </dsp:sp>
    <dsp:sp modelId="{A412B3AD-7D15-8A4B-8C61-EF65C77BFDD5}">
      <dsp:nvSpPr>
        <dsp:cNvPr id="0" name=""/>
        <dsp:cNvSpPr/>
      </dsp:nvSpPr>
      <dsp:spPr>
        <a:xfrm>
          <a:off x="0" y="1181100"/>
          <a:ext cx="21336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FBA12B56-8C94-8543-A091-DDAE40427D2B}">
      <dsp:nvSpPr>
        <dsp:cNvPr id="0" name=""/>
        <dsp:cNvSpPr/>
      </dsp:nvSpPr>
      <dsp:spPr>
        <a:xfrm>
          <a:off x="0" y="1181099"/>
          <a:ext cx="2133600" cy="11810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870" tIns="102870" rIns="102870" bIns="102870" numCol="1" spcCol="1270" anchor="t" anchorCtr="0">
          <a:noAutofit/>
        </a:bodyPr>
        <a:lstStyle/>
        <a:p>
          <a:pPr marL="0" lvl="0" indent="0" algn="l" defTabSz="1200150" rtl="0">
            <a:lnSpc>
              <a:spcPct val="90000"/>
            </a:lnSpc>
            <a:spcBef>
              <a:spcPct val="0"/>
            </a:spcBef>
            <a:spcAft>
              <a:spcPct val="35000"/>
            </a:spcAft>
            <a:buNone/>
          </a:pPr>
          <a:r>
            <a:rPr lang="en-CA" sz="2700" kern="1200" dirty="0"/>
            <a:t>Billing options</a:t>
          </a:r>
        </a:p>
      </dsp:txBody>
      <dsp:txXfrm>
        <a:off x="0" y="1181099"/>
        <a:ext cx="2133600" cy="1181099"/>
      </dsp:txXfrm>
    </dsp:sp>
    <dsp:sp modelId="{6AFFB69E-9B71-8543-A122-EF412B9C7859}">
      <dsp:nvSpPr>
        <dsp:cNvPr id="0" name=""/>
        <dsp:cNvSpPr/>
      </dsp:nvSpPr>
      <dsp:spPr>
        <a:xfrm>
          <a:off x="0" y="2362200"/>
          <a:ext cx="21336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746F5BD0-19F9-114F-A526-0F1C96570DF2}">
      <dsp:nvSpPr>
        <dsp:cNvPr id="0" name=""/>
        <dsp:cNvSpPr/>
      </dsp:nvSpPr>
      <dsp:spPr>
        <a:xfrm>
          <a:off x="0" y="2362199"/>
          <a:ext cx="2133600" cy="11810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870" tIns="102870" rIns="102870" bIns="102870" numCol="1" spcCol="1270" anchor="t" anchorCtr="0">
          <a:noAutofit/>
        </a:bodyPr>
        <a:lstStyle/>
        <a:p>
          <a:pPr marL="0" lvl="0" indent="0" algn="l" defTabSz="1200150" rtl="0">
            <a:lnSpc>
              <a:spcPct val="90000"/>
            </a:lnSpc>
            <a:spcBef>
              <a:spcPct val="0"/>
            </a:spcBef>
            <a:spcAft>
              <a:spcPct val="35000"/>
            </a:spcAft>
            <a:buNone/>
          </a:pPr>
          <a:r>
            <a:rPr lang="en-CA" sz="2700" kern="1200" dirty="0"/>
            <a:t>Detail or summary</a:t>
          </a:r>
        </a:p>
      </dsp:txBody>
      <dsp:txXfrm>
        <a:off x="0" y="2362199"/>
        <a:ext cx="2133600" cy="1181099"/>
      </dsp:txXfrm>
    </dsp:sp>
    <dsp:sp modelId="{23AA3E1E-1270-844B-B338-B86E45D621C6}">
      <dsp:nvSpPr>
        <dsp:cNvPr id="0" name=""/>
        <dsp:cNvSpPr/>
      </dsp:nvSpPr>
      <dsp:spPr>
        <a:xfrm>
          <a:off x="0" y="3543299"/>
          <a:ext cx="21336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B1F84AFD-E820-9C4E-B1EB-DA528DE25529}">
      <dsp:nvSpPr>
        <dsp:cNvPr id="0" name=""/>
        <dsp:cNvSpPr/>
      </dsp:nvSpPr>
      <dsp:spPr>
        <a:xfrm>
          <a:off x="0" y="3543299"/>
          <a:ext cx="2133600" cy="11810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870" tIns="102870" rIns="102870" bIns="102870" numCol="1" spcCol="1270" anchor="t" anchorCtr="0">
          <a:noAutofit/>
        </a:bodyPr>
        <a:lstStyle/>
        <a:p>
          <a:pPr marL="0" lvl="0" indent="0" algn="l" defTabSz="1200150" rtl="0">
            <a:lnSpc>
              <a:spcPct val="90000"/>
            </a:lnSpc>
            <a:spcBef>
              <a:spcPct val="0"/>
            </a:spcBef>
            <a:spcAft>
              <a:spcPct val="35000"/>
            </a:spcAft>
            <a:buNone/>
          </a:pPr>
          <a:r>
            <a:rPr lang="en-CA" sz="2700" kern="1200" dirty="0"/>
            <a:t>Environment / timer</a:t>
          </a:r>
        </a:p>
      </dsp:txBody>
      <dsp:txXfrm>
        <a:off x="0" y="3543299"/>
        <a:ext cx="2133600" cy="1181099"/>
      </dsp:txXfrm>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40342" y="390"/>
          <a:ext cx="1342358" cy="1342358"/>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4290" tIns="34290" rIns="34290" bIns="34290" numCol="1" spcCol="1270" anchor="ctr" anchorCtr="0">
          <a:noAutofit/>
        </a:bodyPr>
        <a:lstStyle/>
        <a:p>
          <a:pPr marL="0" lvl="0" indent="0" algn="ctr" defTabSz="1200150">
            <a:lnSpc>
              <a:spcPct val="90000"/>
            </a:lnSpc>
            <a:spcBef>
              <a:spcPct val="0"/>
            </a:spcBef>
            <a:spcAft>
              <a:spcPct val="35000"/>
            </a:spcAft>
            <a:buNone/>
          </a:pPr>
          <a:r>
            <a:rPr lang="en-US" sz="2700" kern="1200" dirty="0"/>
            <a:t>Page</a:t>
          </a:r>
        </a:p>
        <a:p>
          <a:pPr marL="0" lvl="0" indent="0" algn="ctr" defTabSz="1200150">
            <a:lnSpc>
              <a:spcPct val="90000"/>
            </a:lnSpc>
            <a:spcBef>
              <a:spcPct val="0"/>
            </a:spcBef>
            <a:spcAft>
              <a:spcPct val="35000"/>
            </a:spcAft>
            <a:buNone/>
          </a:pPr>
          <a:r>
            <a:rPr lang="en-US" sz="2700" kern="1200" dirty="0"/>
            <a:t>29</a:t>
          </a:r>
        </a:p>
      </dsp:txBody>
      <dsp:txXfrm>
        <a:off x="436926" y="196974"/>
        <a:ext cx="949190" cy="94919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183598" y="237"/>
          <a:ext cx="1398103" cy="1398103"/>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US" sz="3200" kern="1200" dirty="0"/>
            <a:t>page 15</a:t>
          </a:r>
        </a:p>
      </dsp:txBody>
      <dsp:txXfrm>
        <a:off x="388345" y="204984"/>
        <a:ext cx="988609" cy="988609"/>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8D4C91D-F689-4D45-8F05-C1044B24FC9F}">
      <dsp:nvSpPr>
        <dsp:cNvPr id="0" name=""/>
        <dsp:cNvSpPr/>
      </dsp:nvSpPr>
      <dsp:spPr>
        <a:xfrm>
          <a:off x="0" y="0"/>
          <a:ext cx="1955297"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739DE20D-5CF0-CA40-BE8A-A3C138587309}">
      <dsp:nvSpPr>
        <dsp:cNvPr id="0" name=""/>
        <dsp:cNvSpPr/>
      </dsp:nvSpPr>
      <dsp:spPr>
        <a:xfrm>
          <a:off x="0" y="0"/>
          <a:ext cx="1955297" cy="13335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rtl="0">
            <a:lnSpc>
              <a:spcPct val="90000"/>
            </a:lnSpc>
            <a:spcBef>
              <a:spcPct val="0"/>
            </a:spcBef>
            <a:spcAft>
              <a:spcPct val="35000"/>
            </a:spcAft>
            <a:buNone/>
          </a:pPr>
          <a:r>
            <a:rPr lang="en-CA" sz="2200" kern="1200" dirty="0"/>
            <a:t>Secure your password</a:t>
          </a:r>
        </a:p>
      </dsp:txBody>
      <dsp:txXfrm>
        <a:off x="0" y="0"/>
        <a:ext cx="1955297" cy="1333500"/>
      </dsp:txXfrm>
    </dsp:sp>
    <dsp:sp modelId="{941F8D1F-7FA1-2D43-84D7-C6807E5BCB9F}">
      <dsp:nvSpPr>
        <dsp:cNvPr id="0" name=""/>
        <dsp:cNvSpPr/>
      </dsp:nvSpPr>
      <dsp:spPr>
        <a:xfrm>
          <a:off x="0" y="1333500"/>
          <a:ext cx="1955297"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A1DBDBEE-4D32-EB4F-ACE7-3347912A7BA6}">
      <dsp:nvSpPr>
        <dsp:cNvPr id="0" name=""/>
        <dsp:cNvSpPr/>
      </dsp:nvSpPr>
      <dsp:spPr>
        <a:xfrm>
          <a:off x="0" y="1333500"/>
          <a:ext cx="1955297" cy="13335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marL="0" lvl="0" indent="0" algn="l" defTabSz="977900" rtl="0">
            <a:lnSpc>
              <a:spcPct val="90000"/>
            </a:lnSpc>
            <a:spcBef>
              <a:spcPct val="0"/>
            </a:spcBef>
            <a:spcAft>
              <a:spcPct val="35000"/>
            </a:spcAft>
            <a:buNone/>
          </a:pPr>
          <a:r>
            <a:rPr lang="en-CA" sz="2200" kern="1200" dirty="0"/>
            <a:t>Tech support may not be able to restore it</a:t>
          </a:r>
        </a:p>
      </dsp:txBody>
      <dsp:txXfrm>
        <a:off x="0" y="1333500"/>
        <a:ext cx="1955297" cy="1333500"/>
      </dsp:txXfrm>
    </dsp:sp>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40342" y="390"/>
          <a:ext cx="1342358" cy="1342358"/>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8100" tIns="38100" rIns="38100" bIns="38100" numCol="1" spcCol="1270" anchor="ctr" anchorCtr="0">
          <a:noAutofit/>
        </a:bodyPr>
        <a:lstStyle/>
        <a:p>
          <a:pPr marL="0" lvl="0" indent="0" algn="ctr" defTabSz="1333500">
            <a:lnSpc>
              <a:spcPct val="90000"/>
            </a:lnSpc>
            <a:spcBef>
              <a:spcPct val="0"/>
            </a:spcBef>
            <a:spcAft>
              <a:spcPct val="35000"/>
            </a:spcAft>
            <a:buNone/>
          </a:pPr>
          <a:r>
            <a:rPr lang="en-US" sz="3000" kern="1200" dirty="0"/>
            <a:t>page 31</a:t>
          </a:r>
        </a:p>
      </dsp:txBody>
      <dsp:txXfrm>
        <a:off x="436926" y="196974"/>
        <a:ext cx="949190" cy="949190"/>
      </dsp:txXfrm>
    </dsp:sp>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40342" y="390"/>
          <a:ext cx="1342358" cy="1342358"/>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8100" tIns="38100" rIns="38100" bIns="38100" numCol="1" spcCol="1270" anchor="ctr" anchorCtr="0">
          <a:noAutofit/>
        </a:bodyPr>
        <a:lstStyle/>
        <a:p>
          <a:pPr marL="0" lvl="0" indent="0" algn="ctr" defTabSz="1333500">
            <a:lnSpc>
              <a:spcPct val="90000"/>
            </a:lnSpc>
            <a:spcBef>
              <a:spcPct val="0"/>
            </a:spcBef>
            <a:spcAft>
              <a:spcPct val="35000"/>
            </a:spcAft>
            <a:buNone/>
          </a:pPr>
          <a:r>
            <a:rPr lang="en-US" sz="3000" kern="1200" dirty="0"/>
            <a:t>page 31</a:t>
          </a:r>
        </a:p>
      </dsp:txBody>
      <dsp:txXfrm>
        <a:off x="436926" y="196974"/>
        <a:ext cx="949190" cy="949190"/>
      </dsp:txXfrm>
    </dsp:sp>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30D550-E344-C742-9C2F-6C12E9AFF7AC}">
      <dsp:nvSpPr>
        <dsp:cNvPr id="0" name=""/>
        <dsp:cNvSpPr/>
      </dsp:nvSpPr>
      <dsp:spPr>
        <a:xfrm>
          <a:off x="0" y="0"/>
          <a:ext cx="22860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9C959630-4836-BD45-8203-E80A0A90DF86}">
      <dsp:nvSpPr>
        <dsp:cNvPr id="0" name=""/>
        <dsp:cNvSpPr/>
      </dsp:nvSpPr>
      <dsp:spPr>
        <a:xfrm>
          <a:off x="0" y="0"/>
          <a:ext cx="2286000" cy="21438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marL="0" lvl="0" indent="0" algn="l" defTabSz="1111250" rtl="0">
            <a:lnSpc>
              <a:spcPct val="90000"/>
            </a:lnSpc>
            <a:spcBef>
              <a:spcPct val="0"/>
            </a:spcBef>
            <a:spcAft>
              <a:spcPct val="35000"/>
            </a:spcAft>
            <a:buNone/>
          </a:pPr>
          <a:r>
            <a:rPr lang="en-CA" sz="2500" kern="1200" dirty="0"/>
            <a:t>Options Administration</a:t>
          </a:r>
        </a:p>
      </dsp:txBody>
      <dsp:txXfrm>
        <a:off x="0" y="0"/>
        <a:ext cx="2286000" cy="2143845"/>
      </dsp:txXfrm>
    </dsp:sp>
    <dsp:sp modelId="{11571A48-622D-E24E-88FD-A1095B73831B}">
      <dsp:nvSpPr>
        <dsp:cNvPr id="0" name=""/>
        <dsp:cNvSpPr/>
      </dsp:nvSpPr>
      <dsp:spPr>
        <a:xfrm>
          <a:off x="0" y="2143845"/>
          <a:ext cx="22860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7465ADEB-0ED2-1244-80BD-1F8228695F4A}">
      <dsp:nvSpPr>
        <dsp:cNvPr id="0" name=""/>
        <dsp:cNvSpPr/>
      </dsp:nvSpPr>
      <dsp:spPr>
        <a:xfrm>
          <a:off x="0" y="2143845"/>
          <a:ext cx="2286000" cy="21438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marL="0" lvl="0" indent="0" algn="l" defTabSz="1111250" rtl="0">
            <a:lnSpc>
              <a:spcPct val="90000"/>
            </a:lnSpc>
            <a:spcBef>
              <a:spcPct val="0"/>
            </a:spcBef>
            <a:spcAft>
              <a:spcPct val="35000"/>
            </a:spcAft>
            <a:buNone/>
          </a:pPr>
          <a:r>
            <a:rPr lang="en-CA" sz="2500" kern="1200" dirty="0"/>
            <a:t>Save your settings</a:t>
          </a:r>
        </a:p>
      </dsp:txBody>
      <dsp:txXfrm>
        <a:off x="0" y="2143845"/>
        <a:ext cx="2286000" cy="214384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68116" y="621"/>
          <a:ext cx="3199156" cy="3199156"/>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marL="0" lvl="0" indent="0" algn="ctr" defTabSz="2133600">
            <a:lnSpc>
              <a:spcPct val="90000"/>
            </a:lnSpc>
            <a:spcBef>
              <a:spcPct val="0"/>
            </a:spcBef>
            <a:spcAft>
              <a:spcPct val="35000"/>
            </a:spcAft>
            <a:buNone/>
          </a:pPr>
          <a:r>
            <a:rPr lang="en-US" sz="4800" kern="1200" dirty="0"/>
            <a:t>efile settings</a:t>
          </a:r>
        </a:p>
      </dsp:txBody>
      <dsp:txXfrm>
        <a:off x="736622" y="469127"/>
        <a:ext cx="2262144" cy="226214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183598" y="237"/>
          <a:ext cx="1398103" cy="1398103"/>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US" sz="3200" kern="1200" dirty="0"/>
            <a:t>page 14</a:t>
          </a:r>
        </a:p>
      </dsp:txBody>
      <dsp:txXfrm>
        <a:off x="388345" y="204984"/>
        <a:ext cx="988609" cy="98860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3A9106-0D7D-754C-8E97-D9C6BEE04016}">
      <dsp:nvSpPr>
        <dsp:cNvPr id="0" name=""/>
        <dsp:cNvSpPr/>
      </dsp:nvSpPr>
      <dsp:spPr>
        <a:xfrm>
          <a:off x="0" y="0"/>
          <a:ext cx="30480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19BDB028-EFF0-9948-BCFB-9A57B6369AAD}">
      <dsp:nvSpPr>
        <dsp:cNvPr id="0" name=""/>
        <dsp:cNvSpPr/>
      </dsp:nvSpPr>
      <dsp:spPr>
        <a:xfrm>
          <a:off x="0" y="0"/>
          <a:ext cx="3048000" cy="1047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marL="0" lvl="0" indent="0" algn="l" defTabSz="1333500" rtl="0">
            <a:lnSpc>
              <a:spcPct val="90000"/>
            </a:lnSpc>
            <a:spcBef>
              <a:spcPct val="0"/>
            </a:spcBef>
            <a:spcAft>
              <a:spcPct val="35000"/>
            </a:spcAft>
            <a:buNone/>
          </a:pPr>
          <a:r>
            <a:rPr lang="en-CA" sz="3000" kern="1200" dirty="0"/>
            <a:t>File Location</a:t>
          </a:r>
        </a:p>
      </dsp:txBody>
      <dsp:txXfrm>
        <a:off x="0" y="0"/>
        <a:ext cx="3048000" cy="1047750"/>
      </dsp:txXfrm>
    </dsp:sp>
    <dsp:sp modelId="{C2D05F8A-1B60-774E-9916-A50436F4AC02}">
      <dsp:nvSpPr>
        <dsp:cNvPr id="0" name=""/>
        <dsp:cNvSpPr/>
      </dsp:nvSpPr>
      <dsp:spPr>
        <a:xfrm>
          <a:off x="0" y="1047749"/>
          <a:ext cx="30480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7D12AF5C-EDA5-BA46-9EEB-18EC949A0C9F}">
      <dsp:nvSpPr>
        <dsp:cNvPr id="0" name=""/>
        <dsp:cNvSpPr/>
      </dsp:nvSpPr>
      <dsp:spPr>
        <a:xfrm>
          <a:off x="0" y="1047750"/>
          <a:ext cx="3048000" cy="1047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marL="0" lvl="0" indent="0" algn="l" defTabSz="1333500" rtl="0">
            <a:lnSpc>
              <a:spcPct val="90000"/>
            </a:lnSpc>
            <a:spcBef>
              <a:spcPct val="0"/>
            </a:spcBef>
            <a:spcAft>
              <a:spcPct val="35000"/>
            </a:spcAft>
            <a:buNone/>
          </a:pPr>
          <a:r>
            <a:rPr lang="en-CA" sz="3000" kern="1200" dirty="0"/>
            <a:t>Multiple Files</a:t>
          </a:r>
        </a:p>
      </dsp:txBody>
      <dsp:txXfrm>
        <a:off x="0" y="1047750"/>
        <a:ext cx="3048000" cy="1047750"/>
      </dsp:txXfrm>
    </dsp:sp>
    <dsp:sp modelId="{C777DAFD-5545-854A-8296-FCB6A2C7CD5E}">
      <dsp:nvSpPr>
        <dsp:cNvPr id="0" name=""/>
        <dsp:cNvSpPr/>
      </dsp:nvSpPr>
      <dsp:spPr>
        <a:xfrm>
          <a:off x="0" y="2095499"/>
          <a:ext cx="30480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F8D1252C-D193-ED41-9164-D08FDC1CB67D}">
      <dsp:nvSpPr>
        <dsp:cNvPr id="0" name=""/>
        <dsp:cNvSpPr/>
      </dsp:nvSpPr>
      <dsp:spPr>
        <a:xfrm>
          <a:off x="0" y="2095500"/>
          <a:ext cx="3048000" cy="1047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marL="0" lvl="0" indent="0" algn="l" defTabSz="1333500" rtl="0">
            <a:lnSpc>
              <a:spcPct val="90000"/>
            </a:lnSpc>
            <a:spcBef>
              <a:spcPct val="0"/>
            </a:spcBef>
            <a:spcAft>
              <a:spcPct val="35000"/>
            </a:spcAft>
            <a:buNone/>
          </a:pPr>
          <a:r>
            <a:rPr lang="en-CA" sz="3000" kern="1200" dirty="0"/>
            <a:t>Recently used files</a:t>
          </a:r>
        </a:p>
      </dsp:txBody>
      <dsp:txXfrm>
        <a:off x="0" y="2095500"/>
        <a:ext cx="3048000" cy="1047750"/>
      </dsp:txXfrm>
    </dsp:sp>
    <dsp:sp modelId="{394BBDF5-C15E-6849-A817-C20D94D02F8E}">
      <dsp:nvSpPr>
        <dsp:cNvPr id="0" name=""/>
        <dsp:cNvSpPr/>
      </dsp:nvSpPr>
      <dsp:spPr>
        <a:xfrm>
          <a:off x="0" y="3143250"/>
          <a:ext cx="30480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9184ED7A-F496-CF4F-BFBE-9CB739316C7C}">
      <dsp:nvSpPr>
        <dsp:cNvPr id="0" name=""/>
        <dsp:cNvSpPr/>
      </dsp:nvSpPr>
      <dsp:spPr>
        <a:xfrm>
          <a:off x="0" y="3143250"/>
          <a:ext cx="3048000" cy="1047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marL="0" lvl="0" indent="0" algn="l" defTabSz="1333500" rtl="0">
            <a:lnSpc>
              <a:spcPct val="90000"/>
            </a:lnSpc>
            <a:spcBef>
              <a:spcPct val="0"/>
            </a:spcBef>
            <a:spcAft>
              <a:spcPct val="35000"/>
            </a:spcAft>
            <a:buNone/>
          </a:pPr>
          <a:r>
            <a:rPr lang="en-CA" sz="3000" kern="1200" dirty="0"/>
            <a:t>File lock</a:t>
          </a:r>
        </a:p>
      </dsp:txBody>
      <dsp:txXfrm>
        <a:off x="0" y="3143250"/>
        <a:ext cx="3048000" cy="104775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183598" y="237"/>
          <a:ext cx="1398103" cy="1398103"/>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US" sz="3200" kern="1200" dirty="0"/>
            <a:t>page 15</a:t>
          </a:r>
        </a:p>
      </dsp:txBody>
      <dsp:txXfrm>
        <a:off x="388345" y="204984"/>
        <a:ext cx="988609" cy="988609"/>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68116" y="621"/>
          <a:ext cx="3199156" cy="3199156"/>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5880" tIns="55880" rIns="55880" bIns="55880" numCol="1" spcCol="1270" anchor="ctr" anchorCtr="0">
          <a:noAutofit/>
        </a:bodyPr>
        <a:lstStyle/>
        <a:p>
          <a:pPr marL="0" lvl="0" indent="0" algn="ctr" defTabSz="1955800">
            <a:lnSpc>
              <a:spcPct val="90000"/>
            </a:lnSpc>
            <a:spcBef>
              <a:spcPct val="0"/>
            </a:spcBef>
            <a:spcAft>
              <a:spcPct val="35000"/>
            </a:spcAft>
            <a:buNone/>
          </a:pPr>
          <a:r>
            <a:rPr lang="en-CA" sz="4400" kern="1200" dirty="0"/>
            <a:t>file preparer</a:t>
          </a:r>
          <a:endParaRPr lang="en-US" sz="4400" kern="1200" dirty="0"/>
        </a:p>
      </dsp:txBody>
      <dsp:txXfrm>
        <a:off x="736622" y="469127"/>
        <a:ext cx="2262144" cy="2262144"/>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04365" y="371"/>
          <a:ext cx="1459756" cy="1459756"/>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1910" tIns="41910" rIns="41910" bIns="41910" numCol="1" spcCol="1270" anchor="ctr" anchorCtr="0">
          <a:noAutofit/>
        </a:bodyPr>
        <a:lstStyle/>
        <a:p>
          <a:pPr marL="0" lvl="0" indent="0" algn="ctr" defTabSz="1466850">
            <a:lnSpc>
              <a:spcPct val="90000"/>
            </a:lnSpc>
            <a:spcBef>
              <a:spcPct val="0"/>
            </a:spcBef>
            <a:spcAft>
              <a:spcPct val="35000"/>
            </a:spcAft>
            <a:buNone/>
          </a:pPr>
          <a:r>
            <a:rPr lang="en-US" sz="3300" kern="1200" dirty="0"/>
            <a:t>page 16</a:t>
          </a:r>
        </a:p>
      </dsp:txBody>
      <dsp:txXfrm>
        <a:off x="418141" y="214147"/>
        <a:ext cx="1032204" cy="1032204"/>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0.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3.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5.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6.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7.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8.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9.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0.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3.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4.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6.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7.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8.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9.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30.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3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2.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33.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3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6.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70583" cy="482027"/>
          </a:xfrm>
          <a:prstGeom prst="rect">
            <a:avLst/>
          </a:prstGeom>
        </p:spPr>
        <p:txBody>
          <a:bodyPr vert="horz" lIns="94851" tIns="47425" rIns="94851" bIns="47425" rtlCol="0"/>
          <a:lstStyle>
            <a:lvl1pPr algn="l">
              <a:defRPr sz="1200"/>
            </a:lvl1pPr>
          </a:lstStyle>
          <a:p>
            <a:endParaRPr lang="en-CA"/>
          </a:p>
        </p:txBody>
      </p:sp>
      <p:sp>
        <p:nvSpPr>
          <p:cNvPr id="3" name="Date Placeholder 2"/>
          <p:cNvSpPr>
            <a:spLocks noGrp="1"/>
          </p:cNvSpPr>
          <p:nvPr>
            <p:ph type="dt" sz="quarter" idx="1"/>
          </p:nvPr>
        </p:nvSpPr>
        <p:spPr>
          <a:xfrm>
            <a:off x="4142962" y="1"/>
            <a:ext cx="3170583" cy="482027"/>
          </a:xfrm>
          <a:prstGeom prst="rect">
            <a:avLst/>
          </a:prstGeom>
        </p:spPr>
        <p:txBody>
          <a:bodyPr vert="horz" lIns="94851" tIns="47425" rIns="94851" bIns="47425" rtlCol="0"/>
          <a:lstStyle>
            <a:lvl1pPr algn="r">
              <a:defRPr sz="1200"/>
            </a:lvl1pPr>
          </a:lstStyle>
          <a:p>
            <a:fld id="{3969AFCD-3589-4BCD-B1CD-5D68B5A45A62}" type="datetimeFigureOut">
              <a:rPr lang="en-CA" smtClean="0"/>
              <a:t>2020-12-13</a:t>
            </a:fld>
            <a:endParaRPr lang="en-CA"/>
          </a:p>
        </p:txBody>
      </p:sp>
      <p:sp>
        <p:nvSpPr>
          <p:cNvPr id="4" name="Footer Placeholder 3"/>
          <p:cNvSpPr>
            <a:spLocks noGrp="1"/>
          </p:cNvSpPr>
          <p:nvPr>
            <p:ph type="ftr" sz="quarter" idx="2"/>
          </p:nvPr>
        </p:nvSpPr>
        <p:spPr>
          <a:xfrm>
            <a:off x="0" y="9119173"/>
            <a:ext cx="3170583" cy="482027"/>
          </a:xfrm>
          <a:prstGeom prst="rect">
            <a:avLst/>
          </a:prstGeom>
        </p:spPr>
        <p:txBody>
          <a:bodyPr vert="horz" lIns="94851" tIns="47425" rIns="94851" bIns="47425" rtlCol="0" anchor="b"/>
          <a:lstStyle>
            <a:lvl1pPr algn="l">
              <a:defRPr sz="1200"/>
            </a:lvl1pPr>
          </a:lstStyle>
          <a:p>
            <a:endParaRPr lang="en-CA"/>
          </a:p>
        </p:txBody>
      </p:sp>
      <p:sp>
        <p:nvSpPr>
          <p:cNvPr id="5" name="Slide Number Placeholder 4"/>
          <p:cNvSpPr>
            <a:spLocks noGrp="1"/>
          </p:cNvSpPr>
          <p:nvPr>
            <p:ph type="sldNum" sz="quarter" idx="3"/>
          </p:nvPr>
        </p:nvSpPr>
        <p:spPr>
          <a:xfrm>
            <a:off x="4142962" y="9119173"/>
            <a:ext cx="3170583" cy="482027"/>
          </a:xfrm>
          <a:prstGeom prst="rect">
            <a:avLst/>
          </a:prstGeom>
        </p:spPr>
        <p:txBody>
          <a:bodyPr vert="horz" lIns="94851" tIns="47425" rIns="94851" bIns="47425" rtlCol="0" anchor="b"/>
          <a:lstStyle>
            <a:lvl1pPr algn="r">
              <a:defRPr sz="1200"/>
            </a:lvl1pPr>
          </a:lstStyle>
          <a:p>
            <a:fld id="{DB55A2A7-17EB-4531-ACA7-9942674A0C82}" type="slidenum">
              <a:rPr lang="en-CA" smtClean="0"/>
              <a:t>‹#›</a:t>
            </a:fld>
            <a:endParaRPr lang="en-CA"/>
          </a:p>
        </p:txBody>
      </p:sp>
    </p:spTree>
    <p:extLst>
      <p:ext uri="{BB962C8B-B14F-4D97-AF65-F5344CB8AC3E}">
        <p14:creationId xmlns:p14="http://schemas.microsoft.com/office/powerpoint/2010/main" val="31436104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4851" tIns="47425" rIns="94851" bIns="47425" rtlCol="0"/>
          <a:lstStyle>
            <a:lvl1pPr algn="l">
              <a:defRPr sz="12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4851" tIns="47425" rIns="94851" bIns="47425" rtlCol="0"/>
          <a:lstStyle>
            <a:lvl1pPr algn="r">
              <a:defRPr sz="1200"/>
            </a:lvl1pPr>
          </a:lstStyle>
          <a:p>
            <a:fld id="{C9078E22-508E-460D-B418-3C5F4B0802A2}" type="datetimeFigureOut">
              <a:rPr lang="en-US" smtClean="0"/>
              <a:t>12/13/20</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4851" tIns="47425" rIns="94851" bIns="47425"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4851" tIns="47425" rIns="94851" bIns="4742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6"/>
            <a:ext cx="3169920" cy="481726"/>
          </a:xfrm>
          <a:prstGeom prst="rect">
            <a:avLst/>
          </a:prstGeom>
        </p:spPr>
        <p:txBody>
          <a:bodyPr vert="horz" lIns="94851" tIns="47425" rIns="94851" bIns="47425" rtlCol="0" anchor="b"/>
          <a:lstStyle>
            <a:lvl1pPr algn="l">
              <a:defRPr sz="1200"/>
            </a:lvl1pPr>
          </a:lstStyle>
          <a:p>
            <a:endParaRPr lang="en-US"/>
          </a:p>
        </p:txBody>
      </p:sp>
      <p:sp>
        <p:nvSpPr>
          <p:cNvPr id="7" name="Slide Number Placeholder 6"/>
          <p:cNvSpPr>
            <a:spLocks noGrp="1"/>
          </p:cNvSpPr>
          <p:nvPr>
            <p:ph type="sldNum" sz="quarter" idx="5"/>
          </p:nvPr>
        </p:nvSpPr>
        <p:spPr>
          <a:xfrm>
            <a:off x="4143587" y="9119476"/>
            <a:ext cx="3169920" cy="481726"/>
          </a:xfrm>
          <a:prstGeom prst="rect">
            <a:avLst/>
          </a:prstGeom>
        </p:spPr>
        <p:txBody>
          <a:bodyPr vert="horz" lIns="94851" tIns="47425" rIns="94851" bIns="47425" rtlCol="0" anchor="b"/>
          <a:lstStyle>
            <a:lvl1pPr algn="r">
              <a:defRPr sz="1200"/>
            </a:lvl1pPr>
          </a:lstStyle>
          <a:p>
            <a:fld id="{6B19A31D-4D4F-47CE-9926-B2771FC72306}" type="slidenum">
              <a:rPr lang="en-US" smtClean="0"/>
              <a:t>‹#›</a:t>
            </a:fld>
            <a:endParaRPr lang="en-US"/>
          </a:p>
        </p:txBody>
      </p:sp>
    </p:spTree>
    <p:extLst>
      <p:ext uri="{BB962C8B-B14F-4D97-AF65-F5344CB8AC3E}">
        <p14:creationId xmlns:p14="http://schemas.microsoft.com/office/powerpoint/2010/main" val="19011672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B19A31D-4D4F-47CE-9926-B2771FC72306}" type="slidenum">
              <a:rPr lang="en-US" smtClean="0"/>
              <a:t>3</a:t>
            </a:fld>
            <a:endParaRPr lang="en-US"/>
          </a:p>
        </p:txBody>
      </p:sp>
    </p:spTree>
    <p:extLst>
      <p:ext uri="{BB962C8B-B14F-4D97-AF65-F5344CB8AC3E}">
        <p14:creationId xmlns:p14="http://schemas.microsoft.com/office/powerpoint/2010/main" val="965966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escribe the Edit tab on Page 18</a:t>
            </a:r>
          </a:p>
          <a:p>
            <a:endParaRPr lang="en-US" baseline="0" dirty="0"/>
          </a:p>
          <a:p>
            <a:r>
              <a:rPr lang="en-US" baseline="0" dirty="0"/>
              <a:t>Mention how you can set up options such as:</a:t>
            </a:r>
          </a:p>
          <a:p>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Manually override a calculated value on the tab return</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Use the Ditto key to quickly copy and paste the same information in adjacent fields Allow data to be dragged and dropped from one field to the next</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Ensure that every Social Insurance Number entered in ProFile is valid Double-click on a field in a tax return to jump to a related field</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Right-click to enable Cut, Copy and Paste </a:t>
            </a:r>
            <a:endParaRPr lang="en-US" dirty="0"/>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12</a:t>
            </a:fld>
            <a:endParaRPr lang="en-US"/>
          </a:p>
        </p:txBody>
      </p:sp>
    </p:spTree>
    <p:extLst>
      <p:ext uri="{BB962C8B-B14F-4D97-AF65-F5344CB8AC3E}">
        <p14:creationId xmlns:p14="http://schemas.microsoft.com/office/powerpoint/2010/main" val="13477436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emo the display tab on page 18 and emphasize</a:t>
            </a:r>
          </a:p>
          <a:p>
            <a:endParaRPr lang="en-US" baseline="0" dirty="0"/>
          </a:p>
          <a:p>
            <a:r>
              <a:rPr lang="en-US" sz="1200" kern="1200" dirty="0">
                <a:solidFill>
                  <a:schemeClr val="tx1"/>
                </a:solidFill>
                <a:effectLst/>
                <a:latin typeface="+mn-lt"/>
                <a:ea typeface="+mn-ea"/>
                <a:cs typeface="+mn-cs"/>
              </a:rPr>
              <a:t>Enable on-screen page breaks </a:t>
            </a:r>
          </a:p>
          <a:p>
            <a:r>
              <a:rPr lang="en-US" sz="1200" kern="1200" dirty="0">
                <a:solidFill>
                  <a:schemeClr val="tx1"/>
                </a:solidFill>
                <a:effectLst/>
                <a:latin typeface="+mn-lt"/>
                <a:ea typeface="+mn-ea"/>
                <a:cs typeface="+mn-cs"/>
              </a:rPr>
              <a:t>Use brackets for negative numbers </a:t>
            </a:r>
          </a:p>
          <a:p>
            <a:r>
              <a:rPr lang="en-US" sz="1200" kern="1200" dirty="0">
                <a:solidFill>
                  <a:schemeClr val="tx1"/>
                </a:solidFill>
                <a:effectLst/>
                <a:latin typeface="+mn-lt"/>
                <a:ea typeface="+mn-ea"/>
                <a:cs typeface="+mn-cs"/>
              </a:rPr>
              <a:t>Display zeroes for all NIL values </a:t>
            </a:r>
          </a:p>
          <a:p>
            <a:r>
              <a:rPr lang="en-US" sz="1200" kern="1200" dirty="0">
                <a:solidFill>
                  <a:schemeClr val="tx1"/>
                </a:solidFill>
                <a:effectLst/>
                <a:latin typeface="+mn-lt"/>
                <a:ea typeface="+mn-ea"/>
                <a:cs typeface="+mn-cs"/>
              </a:rPr>
              <a:t>Automatically zoom the displayed tax file to full screen width</a:t>
            </a:r>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13</a:t>
            </a:fld>
            <a:endParaRPr lang="en-US"/>
          </a:p>
        </p:txBody>
      </p:sp>
    </p:spTree>
    <p:extLst>
      <p:ext uri="{BB962C8B-B14F-4D97-AF65-F5344CB8AC3E}">
        <p14:creationId xmlns:p14="http://schemas.microsoft.com/office/powerpoint/2010/main" val="20789213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iscuss the Systems tab on </a:t>
            </a:r>
            <a:r>
              <a:rPr lang="en-US" baseline="0" dirty="0" err="1"/>
              <a:t>Pg</a:t>
            </a:r>
            <a:r>
              <a:rPr lang="en-US" baseline="0" dirty="0"/>
              <a:t> 19</a:t>
            </a:r>
          </a:p>
          <a:p>
            <a:endParaRPr lang="en-US" baseline="0" dirty="0"/>
          </a:p>
          <a:p>
            <a:r>
              <a:rPr lang="en-US" baseline="0" dirty="0"/>
              <a:t>Describe how you can </a:t>
            </a:r>
            <a:r>
              <a:rPr lang="en-US" sz="1200" kern="1200" dirty="0">
                <a:solidFill>
                  <a:schemeClr val="tx1"/>
                </a:solidFill>
                <a:effectLst/>
                <a:latin typeface="+mn-lt"/>
                <a:ea typeface="+mn-ea"/>
                <a:cs typeface="+mn-cs"/>
              </a:rPr>
              <a:t>establish the frequency in which ProFile checks for updates and you can also indicate whether you want ProFile to notify you before downloading and installing an update. Form the System tab, you can also: </a:t>
            </a:r>
            <a:endParaRPr lang="en-US" dirty="0"/>
          </a:p>
          <a:p>
            <a:r>
              <a:rPr lang="en-US" sz="1200" kern="1200" dirty="0">
                <a:solidFill>
                  <a:schemeClr val="tx1"/>
                </a:solidFill>
                <a:effectLst/>
                <a:latin typeface="+mn-lt"/>
                <a:ea typeface="+mn-ea"/>
                <a:cs typeface="+mn-cs"/>
              </a:rPr>
              <a:t>Enable </a:t>
            </a:r>
            <a:r>
              <a:rPr lang="en-US" sz="1200" kern="1200" dirty="0" err="1">
                <a:solidFill>
                  <a:schemeClr val="tx1"/>
                </a:solidFill>
                <a:effectLst/>
                <a:latin typeface="+mn-lt"/>
                <a:ea typeface="+mn-ea"/>
                <a:cs typeface="+mn-cs"/>
              </a:rPr>
              <a:t>ProFile’s</a:t>
            </a:r>
            <a:r>
              <a:rPr lang="en-US" sz="1200" kern="1200" dirty="0">
                <a:solidFill>
                  <a:schemeClr val="tx1"/>
                </a:solidFill>
                <a:effectLst/>
                <a:latin typeface="+mn-lt"/>
                <a:ea typeface="+mn-ea"/>
                <a:cs typeface="+mn-cs"/>
              </a:rPr>
              <a:t> forum-like Live Community </a:t>
            </a:r>
          </a:p>
          <a:p>
            <a:r>
              <a:rPr lang="en-US" sz="1200" kern="1200" dirty="0">
                <a:solidFill>
                  <a:schemeClr val="tx1"/>
                </a:solidFill>
                <a:effectLst/>
                <a:latin typeface="+mn-lt"/>
                <a:ea typeface="+mn-ea"/>
                <a:cs typeface="+mn-cs"/>
              </a:rPr>
              <a:t>Enable or disable </a:t>
            </a:r>
            <a:r>
              <a:rPr lang="en-US" sz="1200" kern="1200" dirty="0" err="1">
                <a:solidFill>
                  <a:schemeClr val="tx1"/>
                </a:solidFill>
                <a:effectLst/>
                <a:latin typeface="+mn-lt"/>
                <a:ea typeface="+mn-ea"/>
                <a:cs typeface="+mn-cs"/>
              </a:rPr>
              <a:t>ProFile’s</a:t>
            </a:r>
            <a:r>
              <a:rPr lang="en-US" sz="1200" kern="1200" dirty="0">
                <a:solidFill>
                  <a:schemeClr val="tx1"/>
                </a:solidFill>
                <a:effectLst/>
                <a:latin typeface="+mn-lt"/>
                <a:ea typeface="+mn-ea"/>
                <a:cs typeface="+mn-cs"/>
              </a:rPr>
              <a:t> online features </a:t>
            </a:r>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14</a:t>
            </a:fld>
            <a:endParaRPr lang="en-US"/>
          </a:p>
        </p:txBody>
      </p:sp>
    </p:spTree>
    <p:extLst>
      <p:ext uri="{BB962C8B-B14F-4D97-AF65-F5344CB8AC3E}">
        <p14:creationId xmlns:p14="http://schemas.microsoft.com/office/powerpoint/2010/main" val="9035944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iscuss the PDF tab on </a:t>
            </a:r>
            <a:r>
              <a:rPr lang="en-US" baseline="0" dirty="0" err="1"/>
              <a:t>Pg</a:t>
            </a:r>
            <a:r>
              <a:rPr lang="en-US" baseline="0" dirty="0"/>
              <a:t> 20</a:t>
            </a:r>
          </a:p>
          <a:p>
            <a:endParaRPr lang="en-US" baseline="0" dirty="0"/>
          </a:p>
          <a:p>
            <a:r>
              <a:rPr lang="en-US" baseline="0" dirty="0"/>
              <a:t>Describe how you can </a:t>
            </a:r>
            <a:r>
              <a:rPr lang="en-US" sz="1200" kern="1200" dirty="0">
                <a:solidFill>
                  <a:schemeClr val="tx1"/>
                </a:solidFill>
                <a:effectLst/>
                <a:latin typeface="+mn-lt"/>
                <a:ea typeface="+mn-ea"/>
                <a:cs typeface="+mn-cs"/>
              </a:rPr>
              <a:t>set file-naming conventions, as well as file location and password protection for all your PDF tax returns. </a:t>
            </a:r>
            <a:endParaRPr lang="en-US" dirty="0"/>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15</a:t>
            </a:fld>
            <a:endParaRPr lang="en-US"/>
          </a:p>
        </p:txBody>
      </p:sp>
    </p:spTree>
    <p:extLst>
      <p:ext uri="{BB962C8B-B14F-4D97-AF65-F5344CB8AC3E}">
        <p14:creationId xmlns:p14="http://schemas.microsoft.com/office/powerpoint/2010/main" val="20689249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Mention how Module options differ from Environment options in that they are year and module-specific, thereby giving you a granular level of control over each type of tax return</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err="1">
                <a:solidFill>
                  <a:schemeClr val="tx1"/>
                </a:solidFill>
                <a:effectLst/>
                <a:latin typeface="+mn-lt"/>
                <a:ea typeface="+mn-ea"/>
                <a:cs typeface="+mn-cs"/>
              </a:rPr>
              <a:t>ProFile’s</a:t>
            </a:r>
            <a:r>
              <a:rPr lang="en-US" sz="1200" kern="1200" dirty="0">
                <a:solidFill>
                  <a:schemeClr val="tx1"/>
                </a:solidFill>
                <a:effectLst/>
                <a:latin typeface="+mn-lt"/>
                <a:ea typeface="+mn-ea"/>
                <a:cs typeface="+mn-cs"/>
              </a:rPr>
              <a:t> Module options let you fine-tune the way ProFile works with each individual tax year and module (T1, T2, T3 and FX). This granular level of detail lets you determine the tax settings that ProFile will choose on new files, and on files you are carrying forward from a previous year. In this window, you can also establish your language preference, and you can set variance thresholds for comparing a client’s current and previous year’s tax file. </a:t>
            </a:r>
            <a:endParaRPr lang="en-US" dirty="0"/>
          </a:p>
        </p:txBody>
      </p:sp>
      <p:sp>
        <p:nvSpPr>
          <p:cNvPr id="4" name="Slide Number Placeholder 3"/>
          <p:cNvSpPr>
            <a:spLocks noGrp="1"/>
          </p:cNvSpPr>
          <p:nvPr>
            <p:ph type="sldNum" sz="quarter" idx="10"/>
          </p:nvPr>
        </p:nvSpPr>
        <p:spPr/>
        <p:txBody>
          <a:bodyPr/>
          <a:lstStyle/>
          <a:p>
            <a:fld id="{6B19A31D-4D4F-47CE-9926-B2771FC72306}" type="slidenum">
              <a:rPr lang="en-US" smtClean="0"/>
              <a:t>16</a:t>
            </a:fld>
            <a:endParaRPr lang="en-US"/>
          </a:p>
        </p:txBody>
      </p:sp>
    </p:spTree>
    <p:extLst>
      <p:ext uri="{BB962C8B-B14F-4D97-AF65-F5344CB8AC3E}">
        <p14:creationId xmlns:p14="http://schemas.microsoft.com/office/powerpoint/2010/main" val="13739622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Refer to Page</a:t>
            </a:r>
            <a:r>
              <a:rPr lang="en-US" sz="1200" kern="1200" baseline="0" dirty="0">
                <a:solidFill>
                  <a:schemeClr val="tx1"/>
                </a:solidFill>
                <a:effectLst/>
                <a:latin typeface="+mn-lt"/>
                <a:ea typeface="+mn-ea"/>
                <a:cs typeface="+mn-cs"/>
              </a:rPr>
              <a:t> 20 and mention how you can s</a:t>
            </a:r>
            <a:r>
              <a:rPr lang="en-US" sz="1200" kern="1200" dirty="0">
                <a:solidFill>
                  <a:schemeClr val="tx1"/>
                </a:solidFill>
                <a:effectLst/>
                <a:latin typeface="+mn-lt"/>
                <a:ea typeface="+mn-ea"/>
                <a:cs typeface="+mn-cs"/>
              </a:rPr>
              <a:t>croll down this window to set defaults for new and carried-forward file. These defaults include RC 59 and T1013 authorization levels, pre and post-assessment review settings, and slip descriptions for carried-forward files. In this window, you can also: </a:t>
            </a:r>
          </a:p>
          <a:p>
            <a:endParaRPr lang="en-US" dirty="0"/>
          </a:p>
          <a:p>
            <a:r>
              <a:rPr lang="en-US" sz="1200" kern="1200" dirty="0">
                <a:solidFill>
                  <a:schemeClr val="tx1"/>
                </a:solidFill>
                <a:effectLst/>
                <a:latin typeface="+mn-lt"/>
                <a:ea typeface="+mn-ea"/>
                <a:cs typeface="+mn-cs"/>
              </a:rPr>
              <a:t>Carry forward Elections Canada and foreign property questions, and T1DD information </a:t>
            </a:r>
          </a:p>
          <a:p>
            <a:r>
              <a:rPr lang="en-US" sz="1200" kern="1200" dirty="0">
                <a:solidFill>
                  <a:schemeClr val="tx1"/>
                </a:solidFill>
                <a:effectLst/>
                <a:latin typeface="+mn-lt"/>
                <a:ea typeface="+mn-ea"/>
                <a:cs typeface="+mn-cs"/>
              </a:rPr>
              <a:t>Set defaults for language of correspondence and preparer information </a:t>
            </a:r>
          </a:p>
          <a:p>
            <a:r>
              <a:rPr lang="en-US" sz="1200" kern="1200" dirty="0">
                <a:solidFill>
                  <a:schemeClr val="tx1"/>
                </a:solidFill>
                <a:effectLst/>
                <a:latin typeface="+mn-lt"/>
                <a:ea typeface="+mn-ea"/>
                <a:cs typeface="+mn-cs"/>
              </a:rPr>
              <a:t>Set client letter and invoice defaults </a:t>
            </a:r>
          </a:p>
          <a:p>
            <a:r>
              <a:rPr lang="en-US" sz="1200" kern="1200" dirty="0">
                <a:solidFill>
                  <a:schemeClr val="tx1"/>
                </a:solidFill>
                <a:effectLst/>
                <a:latin typeface="+mn-lt"/>
                <a:ea typeface="+mn-ea"/>
                <a:cs typeface="+mn-cs"/>
              </a:rPr>
              <a:t>Establish naming conventions for your tax files </a:t>
            </a:r>
          </a:p>
          <a:p>
            <a:r>
              <a:rPr lang="en-US" sz="1200" kern="1200" dirty="0">
                <a:solidFill>
                  <a:schemeClr val="tx1"/>
                </a:solidFill>
                <a:effectLst/>
                <a:latin typeface="+mn-lt"/>
                <a:ea typeface="+mn-ea"/>
                <a:cs typeface="+mn-cs"/>
              </a:rPr>
              <a:t>Choose form </a:t>
            </a:r>
            <a:r>
              <a:rPr lang="en-US" sz="1200" kern="1200" dirty="0" err="1">
                <a:solidFill>
                  <a:schemeClr val="tx1"/>
                </a:solidFill>
                <a:effectLst/>
                <a:latin typeface="+mn-lt"/>
                <a:ea typeface="+mn-ea"/>
                <a:cs typeface="+mn-cs"/>
              </a:rPr>
              <a:t>colours</a:t>
            </a:r>
            <a:r>
              <a:rPr lang="en-US" sz="1200" kern="1200" dirty="0">
                <a:solidFill>
                  <a:schemeClr val="tx1"/>
                </a:solidFill>
                <a:effectLst/>
                <a:latin typeface="+mn-lt"/>
                <a:ea typeface="+mn-ea"/>
                <a:cs typeface="+mn-cs"/>
              </a:rPr>
              <a:t> for client and spouse tax returns </a:t>
            </a:r>
          </a:p>
          <a:p>
            <a:endParaRPr lang="en-US" baseline="0" dirty="0"/>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17</a:t>
            </a:fld>
            <a:endParaRPr lang="en-US"/>
          </a:p>
        </p:txBody>
      </p:sp>
    </p:spTree>
    <p:extLst>
      <p:ext uri="{BB962C8B-B14F-4D97-AF65-F5344CB8AC3E}">
        <p14:creationId xmlns:p14="http://schemas.microsoft.com/office/powerpoint/2010/main" val="1583704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a:t>
            </a:r>
            <a:r>
              <a:rPr lang="en-US" sz="1200" kern="1200" baseline="0" dirty="0">
                <a:solidFill>
                  <a:schemeClr val="tx1"/>
                </a:solidFill>
                <a:effectLst/>
                <a:latin typeface="+mn-lt"/>
                <a:ea typeface="+mn-ea"/>
                <a:cs typeface="+mn-cs"/>
              </a:rPr>
              <a:t> Data Locking</a:t>
            </a:r>
            <a:r>
              <a:rPr lang="en-US" sz="1200" kern="1200" dirty="0">
                <a:solidFill>
                  <a:schemeClr val="tx1"/>
                </a:solidFill>
                <a:effectLst/>
                <a:latin typeface="+mn-lt"/>
                <a:ea typeface="+mn-ea"/>
                <a:cs typeface="+mn-cs"/>
              </a:rPr>
              <a:t> tab on Page 22 lets you enable a warning that prevents you from accidentally creating a tax file. You can also lock a file—and prevent additional data entry—once the Client and EFILE status that you indicate in this window is selected on a tax file. For example, if you click the </a:t>
            </a:r>
            <a:r>
              <a:rPr lang="en-US" sz="1200" i="1" kern="1200" dirty="0">
                <a:solidFill>
                  <a:schemeClr val="tx1"/>
                </a:solidFill>
                <a:effectLst/>
                <a:latin typeface="+mn-lt"/>
                <a:ea typeface="+mn-ea"/>
                <a:cs typeface="+mn-cs"/>
              </a:rPr>
              <a:t>Completed </a:t>
            </a:r>
            <a:r>
              <a:rPr lang="en-US" sz="1200" kern="1200" dirty="0">
                <a:solidFill>
                  <a:schemeClr val="tx1"/>
                </a:solidFill>
                <a:effectLst/>
                <a:latin typeface="+mn-lt"/>
                <a:ea typeface="+mn-ea"/>
                <a:cs typeface="+mn-cs"/>
              </a:rPr>
              <a:t>checkbox in the Client Status column, then ProFile will lock a tax file once a tax preparer indicates that the tax file has been completed.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lso refer to page 22 and describe</a:t>
            </a:r>
            <a:r>
              <a:rPr lang="en-US" sz="1200" kern="1200" baseline="0" dirty="0">
                <a:solidFill>
                  <a:schemeClr val="tx1"/>
                </a:solidFill>
                <a:effectLst/>
                <a:latin typeface="+mn-lt"/>
                <a:ea typeface="+mn-ea"/>
                <a:cs typeface="+mn-cs"/>
              </a:rPr>
              <a:t> how to set a file’s Client Status</a:t>
            </a:r>
          </a:p>
          <a:p>
            <a:endParaRPr lang="en-US" sz="1200" kern="1200" baseline="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o set a file’s Client Status, open a tax file and then go to </a:t>
            </a:r>
            <a:r>
              <a:rPr lang="en-US" sz="1200" i="1" kern="1200" dirty="0">
                <a:solidFill>
                  <a:schemeClr val="tx1"/>
                </a:solidFill>
                <a:effectLst/>
                <a:latin typeface="+mn-lt"/>
                <a:ea typeface="+mn-ea"/>
                <a:cs typeface="+mn-cs"/>
              </a:rPr>
              <a:t>File &gt; Properties. </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Click the </a:t>
            </a:r>
            <a:r>
              <a:rPr lang="en-US" sz="1200" i="1" kern="1200" dirty="0">
                <a:solidFill>
                  <a:schemeClr val="tx1"/>
                </a:solidFill>
                <a:effectLst/>
                <a:latin typeface="+mn-lt"/>
                <a:ea typeface="+mn-ea"/>
                <a:cs typeface="+mn-cs"/>
              </a:rPr>
              <a:t>Client Status </a:t>
            </a:r>
            <a:r>
              <a:rPr lang="en-US" sz="1200" kern="1200" dirty="0">
                <a:solidFill>
                  <a:schemeClr val="tx1"/>
                </a:solidFill>
                <a:effectLst/>
                <a:latin typeface="+mn-lt"/>
                <a:ea typeface="+mn-ea"/>
                <a:cs typeface="+mn-cs"/>
              </a:rPr>
              <a:t>dropdown and select the desired status </a:t>
            </a:r>
          </a:p>
          <a:p>
            <a:r>
              <a:rPr lang="en-US" sz="1200" kern="1200" dirty="0">
                <a:solidFill>
                  <a:schemeClr val="tx1"/>
                </a:solidFill>
                <a:effectLst/>
                <a:latin typeface="+mn-lt"/>
                <a:ea typeface="+mn-ea"/>
                <a:cs typeface="+mn-cs"/>
              </a:rPr>
              <a:t>Note the checkbox, to the right of the Client Status dropdown, that lets you toggle file locking on and off </a:t>
            </a:r>
          </a:p>
          <a:p>
            <a:endParaRPr lang="en-US" dirty="0">
              <a:effectLst/>
            </a:endParaRPr>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18</a:t>
            </a:fld>
            <a:endParaRPr lang="en-US"/>
          </a:p>
        </p:txBody>
      </p:sp>
    </p:spTree>
    <p:extLst>
      <p:ext uri="{BB962C8B-B14F-4D97-AF65-F5344CB8AC3E}">
        <p14:creationId xmlns:p14="http://schemas.microsoft.com/office/powerpoint/2010/main" val="4283282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Refer</a:t>
            </a:r>
            <a:r>
              <a:rPr lang="en-US" sz="1200" kern="1200" baseline="0" dirty="0">
                <a:solidFill>
                  <a:schemeClr val="tx1"/>
                </a:solidFill>
                <a:effectLst/>
                <a:latin typeface="+mn-lt"/>
                <a:ea typeface="+mn-ea"/>
                <a:cs typeface="+mn-cs"/>
              </a:rPr>
              <a:t> to Page 23 and mention how you m</a:t>
            </a:r>
            <a:r>
              <a:rPr lang="en-US" sz="1200" kern="1200" dirty="0">
                <a:solidFill>
                  <a:schemeClr val="tx1"/>
                </a:solidFill>
                <a:effectLst/>
                <a:latin typeface="+mn-lt"/>
                <a:ea typeface="+mn-ea"/>
                <a:cs typeface="+mn-cs"/>
              </a:rPr>
              <a:t>ay want to add a standard business disclaimer to your tax files to alert readers as to your involvement with the information contained therein. ProFile lets you set two different disclaimers. </a:t>
            </a:r>
            <a:endParaRPr lang="en-US" dirty="0"/>
          </a:p>
          <a:p>
            <a:r>
              <a:rPr lang="en-US" sz="1200" kern="1200" dirty="0">
                <a:solidFill>
                  <a:schemeClr val="tx1"/>
                </a:solidFill>
                <a:effectLst/>
                <a:latin typeface="+mn-lt"/>
                <a:ea typeface="+mn-ea"/>
                <a:cs typeface="+mn-cs"/>
              </a:rPr>
              <a:t>A general disclaimer, which will appear on the last page of the tax jacket, for the tax return as a whole </a:t>
            </a:r>
          </a:p>
          <a:p>
            <a:r>
              <a:rPr lang="en-US" sz="1200" kern="1200" dirty="0">
                <a:solidFill>
                  <a:schemeClr val="tx1"/>
                </a:solidFill>
                <a:effectLst/>
                <a:latin typeface="+mn-lt"/>
                <a:ea typeface="+mn-ea"/>
                <a:cs typeface="+mn-cs"/>
              </a:rPr>
              <a:t>A business disclaimer that will appear on business-type forms such as the T2125 schedule for self- </a:t>
            </a:r>
          </a:p>
          <a:p>
            <a:r>
              <a:rPr lang="en-US" sz="1200" kern="1200" dirty="0">
                <a:solidFill>
                  <a:schemeClr val="tx1"/>
                </a:solidFill>
                <a:effectLst/>
                <a:latin typeface="+mn-lt"/>
                <a:ea typeface="+mn-ea"/>
                <a:cs typeface="+mn-cs"/>
              </a:rPr>
              <a:t>employed individuals </a:t>
            </a:r>
          </a:p>
        </p:txBody>
      </p:sp>
      <p:sp>
        <p:nvSpPr>
          <p:cNvPr id="4" name="Slide Number Placeholder 3"/>
          <p:cNvSpPr>
            <a:spLocks noGrp="1"/>
          </p:cNvSpPr>
          <p:nvPr>
            <p:ph type="sldNum" sz="quarter" idx="10"/>
          </p:nvPr>
        </p:nvSpPr>
        <p:spPr/>
        <p:txBody>
          <a:bodyPr/>
          <a:lstStyle/>
          <a:p>
            <a:fld id="{6B19A31D-4D4F-47CE-9926-B2771FC72306}" type="slidenum">
              <a:rPr lang="en-US" smtClean="0"/>
              <a:t>19</a:t>
            </a:fld>
            <a:endParaRPr lang="en-US"/>
          </a:p>
        </p:txBody>
      </p:sp>
    </p:spTree>
    <p:extLst>
      <p:ext uri="{BB962C8B-B14F-4D97-AF65-F5344CB8AC3E}">
        <p14:creationId xmlns:p14="http://schemas.microsoft.com/office/powerpoint/2010/main" val="10729441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Refer to Pager 24 and discuss how ProFile includes pre-formatted letters that you can print as part of your client’s T1 package. See</a:t>
            </a:r>
            <a:r>
              <a:rPr lang="en-US" sz="1200" kern="1200" baseline="0" dirty="0">
                <a:solidFill>
                  <a:schemeClr val="tx1"/>
                </a:solidFill>
                <a:effectLst/>
                <a:latin typeface="+mn-lt"/>
                <a:ea typeface="+mn-ea"/>
                <a:cs typeface="+mn-cs"/>
              </a:rPr>
              <a:t> Page 26 for a  screenshot of a client letter</a:t>
            </a:r>
            <a:endParaRPr lang="en-US" dirty="0">
              <a:effectLst/>
            </a:endParaRPr>
          </a:p>
          <a:p>
            <a:endParaRPr lang="en-US" baseline="0" dirty="0"/>
          </a:p>
          <a:p>
            <a:r>
              <a:rPr lang="en-US" sz="1200" kern="1200" dirty="0">
                <a:solidFill>
                  <a:schemeClr val="tx1"/>
                </a:solidFill>
                <a:effectLst/>
                <a:latin typeface="+mn-lt"/>
                <a:ea typeface="+mn-ea"/>
                <a:cs typeface="+mn-cs"/>
              </a:rPr>
              <a:t>Also</a:t>
            </a:r>
            <a:r>
              <a:rPr lang="en-US" sz="1200" kern="1200" baseline="0" dirty="0">
                <a:solidFill>
                  <a:schemeClr val="tx1"/>
                </a:solidFill>
                <a:effectLst/>
                <a:latin typeface="+mn-lt"/>
                <a:ea typeface="+mn-ea"/>
                <a:cs typeface="+mn-cs"/>
              </a:rPr>
              <a:t> mention that a</a:t>
            </a:r>
            <a:r>
              <a:rPr lang="en-US" sz="1200" kern="1200" dirty="0">
                <a:solidFill>
                  <a:schemeClr val="tx1"/>
                </a:solidFill>
                <a:effectLst/>
                <a:latin typeface="+mn-lt"/>
                <a:ea typeface="+mn-ea"/>
                <a:cs typeface="+mn-cs"/>
              </a:rPr>
              <a:t>ll of </a:t>
            </a:r>
            <a:r>
              <a:rPr lang="en-US" sz="1200" kern="1200" dirty="0" err="1">
                <a:solidFill>
                  <a:schemeClr val="tx1"/>
                </a:solidFill>
                <a:effectLst/>
                <a:latin typeface="+mn-lt"/>
                <a:ea typeface="+mn-ea"/>
                <a:cs typeface="+mn-cs"/>
              </a:rPr>
              <a:t>ProFile’s</a:t>
            </a:r>
            <a:r>
              <a:rPr lang="en-US" sz="1200" kern="1200" dirty="0">
                <a:solidFill>
                  <a:schemeClr val="tx1"/>
                </a:solidFill>
                <a:effectLst/>
                <a:latin typeface="+mn-lt"/>
                <a:ea typeface="+mn-ea"/>
                <a:cs typeface="+mn-cs"/>
              </a:rPr>
              <a:t> preformatted letters are saved in a templates subfolder within the </a:t>
            </a:r>
            <a:r>
              <a:rPr lang="en-US" sz="1200" i="1" kern="1200" dirty="0">
                <a:solidFill>
                  <a:schemeClr val="tx1"/>
                </a:solidFill>
                <a:effectLst/>
                <a:latin typeface="+mn-lt"/>
                <a:ea typeface="+mn-ea"/>
                <a:cs typeface="+mn-cs"/>
              </a:rPr>
              <a:t>My ProFile Data </a:t>
            </a:r>
            <a:r>
              <a:rPr lang="en-US" sz="1200" kern="1200" dirty="0">
                <a:solidFill>
                  <a:schemeClr val="tx1"/>
                </a:solidFill>
                <a:effectLst/>
                <a:latin typeface="+mn-lt"/>
                <a:ea typeface="+mn-ea"/>
                <a:cs typeface="+mn-cs"/>
              </a:rPr>
              <a:t>folder. To view and edit any template, follow these steps: </a:t>
            </a:r>
            <a:endParaRPr lang="en-US" dirty="0">
              <a:effectLst/>
            </a:endParaRPr>
          </a:p>
          <a:p>
            <a:pPr lvl="1"/>
            <a:r>
              <a:rPr lang="en-US" sz="1200" kern="1200" dirty="0">
                <a:solidFill>
                  <a:schemeClr val="tx1"/>
                </a:solidFill>
                <a:effectLst/>
                <a:latin typeface="+mn-lt"/>
                <a:ea typeface="+mn-ea"/>
                <a:cs typeface="+mn-cs"/>
              </a:rPr>
              <a:t>Click on </a:t>
            </a:r>
            <a:r>
              <a:rPr lang="en-US" sz="1200" i="1" kern="1200" dirty="0">
                <a:solidFill>
                  <a:schemeClr val="tx1"/>
                </a:solidFill>
                <a:effectLst/>
                <a:latin typeface="+mn-lt"/>
                <a:ea typeface="+mn-ea"/>
                <a:cs typeface="+mn-cs"/>
              </a:rPr>
              <a:t>Options&gt;Templates </a:t>
            </a:r>
            <a:endParaRPr lang="en-US" sz="12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Find and double-click the desired template, for example, </a:t>
            </a:r>
            <a:r>
              <a:rPr lang="en-US" sz="1200" i="1" kern="1200" dirty="0">
                <a:solidFill>
                  <a:schemeClr val="tx1"/>
                </a:solidFill>
                <a:effectLst/>
                <a:latin typeface="+mn-lt"/>
                <a:ea typeface="+mn-ea"/>
                <a:cs typeface="+mn-cs"/>
              </a:rPr>
              <a:t>Letter </a:t>
            </a:r>
            <a:endParaRPr lang="en-US" sz="1200" kern="1200" dirty="0">
              <a:solidFill>
                <a:schemeClr val="tx1"/>
              </a:solidFill>
              <a:effectLst/>
              <a:latin typeface="+mn-lt"/>
              <a:ea typeface="+mn-ea"/>
              <a:cs typeface="+mn-cs"/>
            </a:endParaRPr>
          </a:p>
          <a:p>
            <a:endParaRPr lang="en-US" baseline="0" dirty="0"/>
          </a:p>
          <a:p>
            <a:r>
              <a:rPr lang="en-US" baseline="0" dirty="0"/>
              <a:t>Describe the difference between black and blue font as mentioned on </a:t>
            </a:r>
            <a:r>
              <a:rPr lang="en-US" baseline="0" dirty="0" err="1"/>
              <a:t>Pg</a:t>
            </a:r>
            <a:r>
              <a:rPr lang="en-US" baseline="0" dirty="0"/>
              <a:t> 25</a:t>
            </a:r>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20</a:t>
            </a:fld>
            <a:endParaRPr lang="en-US"/>
          </a:p>
        </p:txBody>
      </p:sp>
    </p:spTree>
    <p:extLst>
      <p:ext uri="{BB962C8B-B14F-4D97-AF65-F5344CB8AC3E}">
        <p14:creationId xmlns:p14="http://schemas.microsoft.com/office/powerpoint/2010/main" val="12841692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Mention that this is perhaps one of the most important settings, in that it will help you save a great deal of time when it comes to printing/disseminating your client returns</a:t>
            </a:r>
          </a:p>
          <a:p>
            <a:endParaRPr lang="en-US" baseline="0" dirty="0"/>
          </a:p>
          <a:p>
            <a:r>
              <a:rPr lang="en-US" baseline="0" dirty="0"/>
              <a:t>Go over this in detail - as spelled out </a:t>
            </a:r>
            <a:r>
              <a:rPr lang="en-US" baseline="0" dirty="0" err="1"/>
              <a:t>Pgs</a:t>
            </a:r>
            <a:r>
              <a:rPr lang="en-US" baseline="0" dirty="0"/>
              <a:t> 29</a:t>
            </a:r>
          </a:p>
          <a:p>
            <a:endParaRPr lang="en-US" baseline="0" dirty="0"/>
          </a:p>
          <a:p>
            <a:r>
              <a:rPr lang="en-CA" dirty="0"/>
              <a:t>Options&gt;Forms Selection</a:t>
            </a:r>
          </a:p>
          <a:p>
            <a:r>
              <a:rPr lang="en-CA" dirty="0"/>
              <a:t>EXPLAIN HOW TO DRAG FORMS UP OR DOWN (CLIENT LETTERS</a:t>
            </a:r>
            <a:r>
              <a:rPr lang="en-CA" baseline="0" dirty="0"/>
              <a:t> FOR EXAMPLE)</a:t>
            </a:r>
            <a:endParaRPr lang="en-CA" dirty="0"/>
          </a:p>
          <a:p>
            <a:r>
              <a:rPr lang="en-CA" dirty="0"/>
              <a:t>You can personalize</a:t>
            </a:r>
            <a:r>
              <a:rPr lang="en-CA" baseline="0" dirty="0"/>
              <a:t> the forms that you want to print for the client, your office, and CRA copies.</a:t>
            </a:r>
          </a:p>
          <a:p>
            <a:r>
              <a:rPr lang="en-CA" baseline="0" dirty="0"/>
              <a:t>You can also tell Profile to change the file status after printing a return.</a:t>
            </a:r>
          </a:p>
          <a:p>
            <a:r>
              <a:rPr lang="en-CA" baseline="0" dirty="0"/>
              <a:t>Note that you can add two extra print columns here as well, if you wish to print extra sets for whatever reason</a:t>
            </a:r>
          </a:p>
          <a:p>
            <a:endParaRPr lang="en-CA" baseline="0" dirty="0"/>
          </a:p>
          <a:p>
            <a:r>
              <a:rPr lang="en-CA" baseline="0" dirty="0"/>
              <a:t>Also mention how you can </a:t>
            </a:r>
            <a:r>
              <a:rPr lang="en-CA" sz="1200" kern="1200" dirty="0">
                <a:solidFill>
                  <a:schemeClr val="tx1"/>
                </a:solidFill>
                <a:effectLst/>
                <a:latin typeface="+mn-lt"/>
                <a:ea typeface="+mn-ea"/>
                <a:cs typeface="+mn-cs"/>
              </a:rPr>
              <a:t>configure your print settings: </a:t>
            </a:r>
            <a:endParaRPr lang="en-CA" dirty="0"/>
          </a:p>
          <a:p>
            <a:r>
              <a:rPr lang="en-CA" sz="1200" kern="1200" dirty="0">
                <a:solidFill>
                  <a:schemeClr val="tx1"/>
                </a:solidFill>
                <a:effectLst/>
                <a:latin typeface="+mn-lt"/>
                <a:ea typeface="+mn-ea"/>
                <a:cs typeface="+mn-cs"/>
              </a:rPr>
              <a:t>From the Options &gt; Form Selection menu, choose the module and tax year </a:t>
            </a:r>
          </a:p>
          <a:p>
            <a:r>
              <a:rPr lang="en-CA" sz="1200" kern="1200" dirty="0">
                <a:solidFill>
                  <a:schemeClr val="tx1"/>
                </a:solidFill>
                <a:effectLst/>
                <a:latin typeface="+mn-lt"/>
                <a:ea typeface="+mn-ea"/>
                <a:cs typeface="+mn-cs"/>
              </a:rPr>
              <a:t>Choose the print job for the type of the tax return you are preparing for your client—the most common </a:t>
            </a:r>
          </a:p>
          <a:p>
            <a:r>
              <a:rPr lang="en-CA" sz="1200" kern="1200" dirty="0">
                <a:solidFill>
                  <a:schemeClr val="tx1"/>
                </a:solidFill>
                <a:effectLst/>
                <a:latin typeface="+mn-lt"/>
                <a:ea typeface="+mn-ea"/>
                <a:cs typeface="+mn-cs"/>
              </a:rPr>
              <a:t>print job being T1 EFILE </a:t>
            </a:r>
          </a:p>
          <a:p>
            <a:r>
              <a:rPr lang="en-CA" sz="1200" kern="1200" dirty="0">
                <a:solidFill>
                  <a:schemeClr val="tx1"/>
                </a:solidFill>
                <a:effectLst/>
                <a:latin typeface="+mn-lt"/>
                <a:ea typeface="+mn-ea"/>
                <a:cs typeface="+mn-cs"/>
              </a:rPr>
              <a:t>After printing a return, ProFile lets you choose a default status. For example, once printed, you might </a:t>
            </a:r>
          </a:p>
          <a:p>
            <a:r>
              <a:rPr lang="en-CA" sz="1200" kern="1200" dirty="0">
                <a:solidFill>
                  <a:schemeClr val="tx1"/>
                </a:solidFill>
                <a:effectLst/>
                <a:latin typeface="+mn-lt"/>
                <a:ea typeface="+mn-ea"/>
                <a:cs typeface="+mn-cs"/>
              </a:rPr>
              <a:t>want to set the status of all tax returns to </a:t>
            </a:r>
            <a:r>
              <a:rPr lang="en-CA" sz="1200" i="1" kern="1200" dirty="0">
                <a:solidFill>
                  <a:schemeClr val="tx1"/>
                </a:solidFill>
                <a:effectLst/>
                <a:latin typeface="+mn-lt"/>
                <a:ea typeface="+mn-ea"/>
                <a:cs typeface="+mn-cs"/>
              </a:rPr>
              <a:t>Completed</a:t>
            </a:r>
            <a:r>
              <a:rPr lang="en-CA" sz="1200" kern="1200" dirty="0">
                <a:solidFill>
                  <a:schemeClr val="tx1"/>
                </a:solidFill>
                <a:effectLst/>
                <a:latin typeface="+mn-lt"/>
                <a:ea typeface="+mn-ea"/>
                <a:cs typeface="+mn-cs"/>
              </a:rPr>
              <a:t>. The window below displays the available types of file status</a:t>
            </a:r>
          </a:p>
          <a:p>
            <a:r>
              <a:rPr lang="en-CA" sz="1200" kern="1200" dirty="0">
                <a:solidFill>
                  <a:schemeClr val="tx1"/>
                </a:solidFill>
                <a:effectLst/>
                <a:latin typeface="+mn-lt"/>
                <a:ea typeface="+mn-ea"/>
                <a:cs typeface="+mn-cs"/>
              </a:rPr>
              <a:t>Under </a:t>
            </a:r>
            <a:r>
              <a:rPr lang="en-CA" sz="1200" i="1" kern="1200" dirty="0">
                <a:solidFill>
                  <a:schemeClr val="tx1"/>
                </a:solidFill>
                <a:effectLst/>
                <a:latin typeface="+mn-lt"/>
                <a:ea typeface="+mn-ea"/>
                <a:cs typeface="+mn-cs"/>
              </a:rPr>
              <a:t>Form Selection Details, </a:t>
            </a:r>
            <a:r>
              <a:rPr lang="en-CA" sz="1200" kern="1200" dirty="0">
                <a:solidFill>
                  <a:schemeClr val="tx1"/>
                </a:solidFill>
                <a:effectLst/>
                <a:latin typeface="+mn-lt"/>
                <a:ea typeface="+mn-ea"/>
                <a:cs typeface="+mn-cs"/>
              </a:rPr>
              <a:t>you can choose the specific print set you’d like to prepare. For example, for each tax return, you can choose to print a copy for your files, your clients and for CRA. It’s here that you can also determine options such as duplex printing or four forms per page. You can also set </a:t>
            </a:r>
          </a:p>
          <a:p>
            <a:r>
              <a:rPr lang="en-CA" sz="1200" kern="1200" dirty="0">
                <a:solidFill>
                  <a:schemeClr val="tx1"/>
                </a:solidFill>
                <a:effectLst/>
                <a:latin typeface="+mn-lt"/>
                <a:ea typeface="+mn-ea"/>
                <a:cs typeface="+mn-cs"/>
              </a:rPr>
              <a:t>your PDF options here. </a:t>
            </a:r>
          </a:p>
          <a:p>
            <a:r>
              <a:rPr lang="en-CA" sz="1200" kern="1200" dirty="0">
                <a:solidFill>
                  <a:schemeClr val="tx1"/>
                </a:solidFill>
                <a:effectLst/>
                <a:latin typeface="+mn-lt"/>
                <a:ea typeface="+mn-ea"/>
                <a:cs typeface="+mn-cs"/>
              </a:rPr>
              <a:t>You can rename the prints sets, or add more print sets as well. To do either, just type the desired form </a:t>
            </a:r>
          </a:p>
          <a:p>
            <a:r>
              <a:rPr lang="en-CA" sz="1200" kern="1200" dirty="0">
                <a:solidFill>
                  <a:schemeClr val="tx1"/>
                </a:solidFill>
                <a:effectLst/>
                <a:latin typeface="+mn-lt"/>
                <a:ea typeface="+mn-ea"/>
                <a:cs typeface="+mn-cs"/>
              </a:rPr>
              <a:t>names under Print Set Names </a:t>
            </a:r>
          </a:p>
          <a:p>
            <a:r>
              <a:rPr lang="en-CA" sz="1200" kern="1200" dirty="0">
                <a:solidFill>
                  <a:schemeClr val="tx1"/>
                </a:solidFill>
                <a:effectLst/>
                <a:latin typeface="+mn-lt"/>
                <a:ea typeface="+mn-ea"/>
                <a:cs typeface="+mn-cs"/>
              </a:rPr>
              <a:t>Scroll through the </a:t>
            </a:r>
            <a:r>
              <a:rPr lang="en-CA" sz="1200" i="1" kern="1200" dirty="0">
                <a:solidFill>
                  <a:schemeClr val="tx1"/>
                </a:solidFill>
                <a:effectLst/>
                <a:latin typeface="+mn-lt"/>
                <a:ea typeface="+mn-ea"/>
                <a:cs typeface="+mn-cs"/>
              </a:rPr>
              <a:t>Form </a:t>
            </a:r>
            <a:r>
              <a:rPr lang="en-CA" sz="1200" kern="1200" dirty="0">
                <a:solidFill>
                  <a:schemeClr val="tx1"/>
                </a:solidFill>
                <a:effectLst/>
                <a:latin typeface="+mn-lt"/>
                <a:ea typeface="+mn-ea"/>
                <a:cs typeface="+mn-cs"/>
              </a:rPr>
              <a:t>window to select (or deselect) the forms you would like to save or send to </a:t>
            </a:r>
          </a:p>
          <a:p>
            <a:r>
              <a:rPr lang="en-CA" sz="1200" kern="1200" dirty="0">
                <a:solidFill>
                  <a:schemeClr val="tx1"/>
                </a:solidFill>
                <a:effectLst/>
                <a:latin typeface="+mn-lt"/>
                <a:ea typeface="+mn-ea"/>
                <a:cs typeface="+mn-cs"/>
              </a:rPr>
              <a:t>your clients </a:t>
            </a:r>
          </a:p>
          <a:p>
            <a:r>
              <a:rPr lang="en-CA" sz="1200" kern="1200" dirty="0">
                <a:solidFill>
                  <a:schemeClr val="tx1"/>
                </a:solidFill>
                <a:effectLst/>
                <a:latin typeface="+mn-lt"/>
                <a:ea typeface="+mn-ea"/>
                <a:cs typeface="+mn-cs"/>
              </a:rPr>
              <a:t>Click </a:t>
            </a:r>
            <a:r>
              <a:rPr lang="en-CA" sz="1200" i="1" kern="1200" dirty="0">
                <a:solidFill>
                  <a:schemeClr val="tx1"/>
                </a:solidFill>
                <a:effectLst/>
                <a:latin typeface="+mn-lt"/>
                <a:ea typeface="+mn-ea"/>
                <a:cs typeface="+mn-cs"/>
              </a:rPr>
              <a:t>Carry-forward </a:t>
            </a:r>
            <a:r>
              <a:rPr lang="en-CA" sz="1200" kern="1200" dirty="0">
                <a:solidFill>
                  <a:schemeClr val="tx1"/>
                </a:solidFill>
                <a:effectLst/>
                <a:latin typeface="+mn-lt"/>
                <a:ea typeface="+mn-ea"/>
                <a:cs typeface="+mn-cs"/>
              </a:rPr>
              <a:t>to assign last year’s print settings to the current year </a:t>
            </a:r>
          </a:p>
        </p:txBody>
      </p:sp>
      <p:sp>
        <p:nvSpPr>
          <p:cNvPr id="4" name="Slide Number Placeholder 3"/>
          <p:cNvSpPr>
            <a:spLocks noGrp="1"/>
          </p:cNvSpPr>
          <p:nvPr>
            <p:ph type="sldNum" sz="quarter" idx="10"/>
          </p:nvPr>
        </p:nvSpPr>
        <p:spPr/>
        <p:txBody>
          <a:bodyPr/>
          <a:lstStyle/>
          <a:p>
            <a:fld id="{6B19A31D-4D4F-47CE-9926-B2771FC72306}" type="slidenum">
              <a:rPr lang="en-US" smtClean="0"/>
              <a:t>21</a:t>
            </a:fld>
            <a:endParaRPr lang="en-US"/>
          </a:p>
        </p:txBody>
      </p:sp>
    </p:spTree>
    <p:extLst>
      <p:ext uri="{BB962C8B-B14F-4D97-AF65-F5344CB8AC3E}">
        <p14:creationId xmlns:p14="http://schemas.microsoft.com/office/powerpoint/2010/main" val="6466439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baseline="0" dirty="0"/>
              <a:t>Refer to Page 5 and discuss</a:t>
            </a:r>
          </a:p>
          <a:p>
            <a:r>
              <a:rPr lang="en-CA" baseline="0" dirty="0"/>
              <a:t>Single-user installation</a:t>
            </a:r>
          </a:p>
          <a:p>
            <a:r>
              <a:rPr lang="en-CA" baseline="0" dirty="0"/>
              <a:t>Also discuss Multi-user installation on Page 10</a:t>
            </a:r>
          </a:p>
          <a:p>
            <a:endParaRPr lang="en-CA" baseline="0" dirty="0"/>
          </a:p>
          <a:p>
            <a:endParaRPr lang="en-CA" baseline="0" dirty="0"/>
          </a:p>
          <a:p>
            <a:r>
              <a:rPr lang="en-CA" baseline="0" dirty="0"/>
              <a:t>Then refer to Page 7</a:t>
            </a:r>
          </a:p>
          <a:p>
            <a:r>
              <a:rPr lang="en-CA" baseline="0" dirty="0"/>
              <a:t>Activation (mention importance of Product Code &amp; License Key</a:t>
            </a:r>
          </a:p>
          <a:p>
            <a:endParaRPr lang="en-CA" baseline="0" dirty="0"/>
          </a:p>
          <a:p>
            <a:r>
              <a:rPr lang="en-CA" baseline="0" dirty="0"/>
              <a:t>Discuss Adding and removing licenses on Page 9</a:t>
            </a:r>
          </a:p>
          <a:p>
            <a:endParaRPr lang="en-CA"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4</a:t>
            </a:fld>
            <a:endParaRPr lang="en-US"/>
          </a:p>
        </p:txBody>
      </p:sp>
    </p:spTree>
    <p:extLst>
      <p:ext uri="{BB962C8B-B14F-4D97-AF65-F5344CB8AC3E}">
        <p14:creationId xmlns:p14="http://schemas.microsoft.com/office/powerpoint/2010/main" val="61745936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escribe the pricing options on page 28</a:t>
            </a:r>
          </a:p>
          <a:p>
            <a:endParaRPr lang="en-US" baseline="0" dirty="0"/>
          </a:p>
          <a:p>
            <a:r>
              <a:rPr lang="en-US" baseline="0" dirty="0"/>
              <a:t>Mention how </a:t>
            </a:r>
            <a:r>
              <a:rPr lang="en-US" sz="1200" kern="1200" dirty="0">
                <a:solidFill>
                  <a:schemeClr val="tx1"/>
                </a:solidFill>
                <a:effectLst/>
                <a:latin typeface="+mn-lt"/>
                <a:ea typeface="+mn-ea"/>
                <a:cs typeface="+mn-cs"/>
              </a:rPr>
              <a:t>you can: </a:t>
            </a:r>
            <a:endParaRPr lang="en-US" dirty="0"/>
          </a:p>
          <a:p>
            <a:r>
              <a:rPr lang="en-US" sz="1200" kern="1200" dirty="0">
                <a:solidFill>
                  <a:schemeClr val="tx1"/>
                </a:solidFill>
                <a:effectLst/>
                <a:latin typeface="+mn-lt"/>
                <a:ea typeface="+mn-ea"/>
                <a:cs typeface="+mn-cs"/>
              </a:rPr>
              <a:t> Record your GST Registration Number and tax rates and you can set your invoice numbering sequence </a:t>
            </a:r>
            <a:endParaRPr lang="en-US" dirty="0"/>
          </a:p>
          <a:p>
            <a:r>
              <a:rPr lang="en-US" sz="1200" kern="1200" dirty="0">
                <a:solidFill>
                  <a:schemeClr val="tx1"/>
                </a:solidFill>
                <a:effectLst/>
                <a:latin typeface="+mn-lt"/>
                <a:ea typeface="+mn-ea"/>
                <a:cs typeface="+mn-cs"/>
              </a:rPr>
              <a:t>Indicate whether you want to provide a detail or summary invoice to your clients Choose whether to bill by tax schedule or by the hour</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Establish your per-schedule pricing</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Carry forward last year’s pricing to the current year </a:t>
            </a:r>
            <a:endParaRPr lang="en-US" dirty="0"/>
          </a:p>
          <a:p>
            <a:r>
              <a:rPr lang="en-US" baseline="0" dirty="0"/>
              <a:t>Billing form and the Invoicing form (not in guide)</a:t>
            </a:r>
          </a:p>
          <a:p>
            <a:endParaRPr lang="en-US" baseline="0" dirty="0"/>
          </a:p>
          <a:p>
            <a:r>
              <a:rPr lang="en-US" baseline="0" dirty="0"/>
              <a:t>Mention the Environment options Edit tab and describe how you use </a:t>
            </a:r>
            <a:r>
              <a:rPr lang="en-US" baseline="0" dirty="0" err="1"/>
              <a:t>ProFile’s</a:t>
            </a:r>
            <a:r>
              <a:rPr lang="en-US" baseline="0" dirty="0"/>
              <a:t> timer</a:t>
            </a:r>
          </a:p>
        </p:txBody>
      </p:sp>
      <p:sp>
        <p:nvSpPr>
          <p:cNvPr id="4" name="Slide Number Placeholder 3"/>
          <p:cNvSpPr>
            <a:spLocks noGrp="1"/>
          </p:cNvSpPr>
          <p:nvPr>
            <p:ph type="sldNum" sz="quarter" idx="10"/>
          </p:nvPr>
        </p:nvSpPr>
        <p:spPr/>
        <p:txBody>
          <a:bodyPr/>
          <a:lstStyle/>
          <a:p>
            <a:fld id="{6B19A31D-4D4F-47CE-9926-B2771FC72306}" type="slidenum">
              <a:rPr lang="en-US" smtClean="0"/>
              <a:t>22</a:t>
            </a:fld>
            <a:endParaRPr lang="en-US"/>
          </a:p>
        </p:txBody>
      </p:sp>
    </p:spTree>
    <p:extLst>
      <p:ext uri="{BB962C8B-B14F-4D97-AF65-F5344CB8AC3E}">
        <p14:creationId xmlns:p14="http://schemas.microsoft.com/office/powerpoint/2010/main" val="7746161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Describe the Options Password setting on Page</a:t>
            </a:r>
            <a:r>
              <a:rPr lang="en-CA" baseline="0" dirty="0"/>
              <a:t> 31</a:t>
            </a:r>
          </a:p>
          <a:p>
            <a:endParaRPr lang="en-CA"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CA" sz="1200" kern="1200" dirty="0">
                <a:solidFill>
                  <a:schemeClr val="tx1"/>
                </a:solidFill>
                <a:effectLst/>
                <a:latin typeface="+mn-lt"/>
                <a:ea typeface="+mn-ea"/>
                <a:cs typeface="+mn-cs"/>
              </a:rPr>
              <a:t>Emphasize how It’s important to safely record and store your options password as the ProFile support team may not be successful in helping you retrieve it. </a:t>
            </a:r>
            <a:endParaRPr lang="en-CA" dirty="0"/>
          </a:p>
          <a:p>
            <a:endParaRPr lang="en-US" baseline="0" dirty="0"/>
          </a:p>
          <a:p>
            <a:endParaRPr lang="en-CA" dirty="0"/>
          </a:p>
        </p:txBody>
      </p:sp>
      <p:sp>
        <p:nvSpPr>
          <p:cNvPr id="4" name="Slide Number Placeholder 3"/>
          <p:cNvSpPr>
            <a:spLocks noGrp="1"/>
          </p:cNvSpPr>
          <p:nvPr>
            <p:ph type="sldNum" sz="quarter" idx="10"/>
          </p:nvPr>
        </p:nvSpPr>
        <p:spPr/>
        <p:txBody>
          <a:bodyPr/>
          <a:lstStyle/>
          <a:p>
            <a:fld id="{798D59A4-DDC9-43DD-9D1A-5A16C63BC4A0}" type="slidenum">
              <a:rPr lang="en-US" smtClean="0"/>
              <a:t>23</a:t>
            </a:fld>
            <a:endParaRPr lang="en-US" dirty="0"/>
          </a:p>
        </p:txBody>
      </p:sp>
    </p:spTree>
    <p:extLst>
      <p:ext uri="{BB962C8B-B14F-4D97-AF65-F5344CB8AC3E}">
        <p14:creationId xmlns:p14="http://schemas.microsoft.com/office/powerpoint/2010/main" val="11874164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escribe how to save your settings under Options &gt; Administration (page 31-32)</a:t>
            </a:r>
          </a:p>
          <a:p>
            <a:endParaRPr lang="en-US" baseline="0" dirty="0"/>
          </a:p>
          <a:p>
            <a:endParaRPr lang="en-US" baseline="0" dirty="0"/>
          </a:p>
          <a:p>
            <a:r>
              <a:rPr lang="en-US" baseline="0" dirty="0"/>
              <a:t>Say something like this</a:t>
            </a:r>
            <a:r>
              <a:rPr lang="mr-IN" baseline="0" dirty="0"/>
              <a:t>…</a:t>
            </a:r>
            <a:r>
              <a:rPr lang="en-CA" baseline="0" dirty="0"/>
              <a:t>.</a:t>
            </a:r>
            <a:endParaRPr lang="en-US" baseline="0" dirty="0"/>
          </a:p>
          <a:p>
            <a:r>
              <a:rPr lang="en-US" dirty="0"/>
              <a:t>ProFile lets you save your customized global settings (those you enabled through the </a:t>
            </a:r>
            <a:r>
              <a:rPr lang="en-US" i="1" dirty="0"/>
              <a:t>Options</a:t>
            </a:r>
            <a:r>
              <a:rPr lang="en-US" dirty="0"/>
              <a:t> menu) in a folder that’s separate from the program files. This means if you upgrade or replace your computer, or if you reinstall ProFile, you can easily re-establish your customized options. </a:t>
            </a:r>
          </a:p>
          <a:p>
            <a:r>
              <a:rPr lang="en-US" dirty="0"/>
              <a:t>In addition, in a network environment, multiple users can point to one uniform options package that specifies settings such as data-file location and tax preparer information.</a:t>
            </a:r>
          </a:p>
          <a:p>
            <a:pPr lvl="0"/>
            <a:r>
              <a:rPr lang="en-US" dirty="0"/>
              <a:t>To view where ProFile stores your global settings, click </a:t>
            </a:r>
            <a:r>
              <a:rPr lang="en-US" i="1" dirty="0"/>
              <a:t>Options </a:t>
            </a:r>
            <a:r>
              <a:rPr lang="en-US" dirty="0"/>
              <a:t>and select </a:t>
            </a:r>
            <a:r>
              <a:rPr lang="en-US" i="1" dirty="0"/>
              <a:t>Options Administration.</a:t>
            </a:r>
            <a:endParaRPr lang="en-US" dirty="0"/>
          </a:p>
          <a:p>
            <a:pPr lvl="0"/>
            <a:r>
              <a:rPr lang="en-US" dirty="0"/>
              <a:t>The window below tells you your settings are stored in an </a:t>
            </a:r>
            <a:r>
              <a:rPr lang="en-US" i="1" dirty="0"/>
              <a:t>Options Package</a:t>
            </a:r>
            <a:r>
              <a:rPr lang="en-US" dirty="0"/>
              <a:t> folder.</a:t>
            </a:r>
          </a:p>
          <a:p>
            <a:pPr lvl="0"/>
            <a:r>
              <a:rPr lang="en-US" dirty="0"/>
              <a:t>To save your customized settings click </a:t>
            </a:r>
            <a:r>
              <a:rPr lang="en-US" i="1" dirty="0"/>
              <a:t>New.</a:t>
            </a:r>
          </a:p>
          <a:p>
            <a:pPr lvl="0"/>
            <a:endParaRPr lang="en-US" baseline="0" dirty="0"/>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24</a:t>
            </a:fld>
            <a:endParaRPr lang="en-US"/>
          </a:p>
        </p:txBody>
      </p:sp>
    </p:spTree>
    <p:extLst>
      <p:ext uri="{BB962C8B-B14F-4D97-AF65-F5344CB8AC3E}">
        <p14:creationId xmlns:p14="http://schemas.microsoft.com/office/powerpoint/2010/main" val="961240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baseline="0" dirty="0"/>
              <a:t>Refer to Page 11 and discuss</a:t>
            </a:r>
          </a:p>
          <a:p>
            <a:r>
              <a:rPr lang="en-CA" baseline="0" dirty="0"/>
              <a:t>Flexible licensing</a:t>
            </a:r>
          </a:p>
          <a:p>
            <a:r>
              <a:rPr lang="en-CA" baseline="0" dirty="0"/>
              <a:t>Multiple computers / Same license (non-concurrent only)</a:t>
            </a:r>
          </a:p>
          <a:p>
            <a:r>
              <a:rPr lang="en-CA" baseline="0" dirty="0"/>
              <a:t>Also mention that computers must have online access in order to activate/suspend licenses</a:t>
            </a:r>
          </a:p>
          <a:p>
            <a:endParaRPr lang="en-CA" baseline="0" dirty="0"/>
          </a:p>
          <a:p>
            <a:endParaRPr lang="en-CA" baseline="0" dirty="0"/>
          </a:p>
          <a:p>
            <a:r>
              <a:rPr lang="en-CA" baseline="0" dirty="0"/>
              <a:t>Then refer to Maximum license warnings Page 12</a:t>
            </a:r>
          </a:p>
          <a:p>
            <a:r>
              <a:rPr lang="en-CA" baseline="0" dirty="0"/>
              <a:t>This happens when the same license is used too often (more times than allowable units)</a:t>
            </a:r>
          </a:p>
          <a:p>
            <a:r>
              <a:rPr lang="en-CA" baseline="0" dirty="0"/>
              <a:t>Explain you can prevent this from happening by deleting licenses on old computers</a:t>
            </a:r>
          </a:p>
          <a:p>
            <a:endParaRPr lang="en-CA"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5</a:t>
            </a:fld>
            <a:endParaRPr lang="en-US"/>
          </a:p>
        </p:txBody>
      </p:sp>
    </p:spTree>
    <p:extLst>
      <p:ext uri="{BB962C8B-B14F-4D97-AF65-F5344CB8AC3E}">
        <p14:creationId xmlns:p14="http://schemas.microsoft.com/office/powerpoint/2010/main" val="2562563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troduce this section by describing the inefficiency inherent in an incomplete setup (constantly resetting forms to print, file preferences such as file location etc.)</a:t>
            </a:r>
          </a:p>
          <a:p>
            <a:endParaRPr lang="en-US" dirty="0"/>
          </a:p>
          <a:p>
            <a:r>
              <a:rPr lang="en-US" dirty="0"/>
              <a:t>Describe the Options</a:t>
            </a:r>
            <a:r>
              <a:rPr lang="en-US" baseline="0" dirty="0"/>
              <a:t>  on page 14 </a:t>
            </a:r>
            <a:r>
              <a:rPr lang="en-CA" baseline="0" dirty="0"/>
              <a:t>and mention how these options help </a:t>
            </a:r>
            <a:r>
              <a:rPr lang="en-US" dirty="0"/>
              <a:t>dig down into the guts</a:t>
            </a:r>
            <a:r>
              <a:rPr lang="en-US" baseline="0" dirty="0"/>
              <a:t> of the software</a:t>
            </a:r>
          </a:p>
          <a:p>
            <a:endParaRPr lang="en-US" baseline="0" dirty="0"/>
          </a:p>
          <a:p>
            <a:r>
              <a:rPr lang="en-US" baseline="0" dirty="0"/>
              <a:t>Describe how you can set a host of parameters including file location, file preferences, customized templates and more.</a:t>
            </a:r>
          </a:p>
          <a:p>
            <a:endParaRPr lang="en-US" baseline="0" dirty="0"/>
          </a:p>
          <a:p>
            <a:endParaRPr lang="en-US" baseline="0" dirty="0"/>
          </a:p>
          <a:p>
            <a:r>
              <a:rPr lang="en-US" dirty="0"/>
              <a:t>Mention that some setup options are mandatory</a:t>
            </a:r>
            <a:r>
              <a:rPr lang="en-US" baseline="0" dirty="0"/>
              <a:t> (EG, File Preparer &amp; EFILE settings) and some are perhaps optional, but yet recommended</a:t>
            </a:r>
          </a:p>
          <a:p>
            <a:endParaRPr lang="en-US" baseline="0" dirty="0"/>
          </a:p>
          <a:p>
            <a:r>
              <a:rPr lang="en-US" baseline="0" dirty="0"/>
              <a:t>Let’s start with the more-or-less Mandatory Options</a:t>
            </a:r>
          </a:p>
        </p:txBody>
      </p:sp>
      <p:sp>
        <p:nvSpPr>
          <p:cNvPr id="4" name="Slide Number Placeholder 3"/>
          <p:cNvSpPr>
            <a:spLocks noGrp="1"/>
          </p:cNvSpPr>
          <p:nvPr>
            <p:ph type="sldNum" sz="quarter" idx="10"/>
          </p:nvPr>
        </p:nvSpPr>
        <p:spPr/>
        <p:txBody>
          <a:bodyPr/>
          <a:lstStyle/>
          <a:p>
            <a:fld id="{6B19A31D-4D4F-47CE-9926-B2771FC72306}" type="slidenum">
              <a:rPr lang="en-US" smtClean="0"/>
              <a:t>6</a:t>
            </a:fld>
            <a:endParaRPr lang="en-US"/>
          </a:p>
        </p:txBody>
      </p:sp>
    </p:spTree>
    <p:extLst>
      <p:ext uri="{BB962C8B-B14F-4D97-AF65-F5344CB8AC3E}">
        <p14:creationId xmlns:p14="http://schemas.microsoft.com/office/powerpoint/2010/main" val="5248137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Notice the Options menu has a number of sub-menus (Environment, Module, Database, etc.)</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EMPHASIZE THE QUESTION MARK IN THE OPTIONS WINDOW THAT DISPLAYS CONTEXT SENSITIVE HELP</a:t>
            </a:r>
          </a:p>
          <a:p>
            <a:endParaRPr lang="en-US" baseline="0" dirty="0"/>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7</a:t>
            </a:fld>
            <a:endParaRPr lang="en-US"/>
          </a:p>
        </p:txBody>
      </p:sp>
    </p:spTree>
    <p:extLst>
      <p:ext uri="{BB962C8B-B14F-4D97-AF65-F5344CB8AC3E}">
        <p14:creationId xmlns:p14="http://schemas.microsoft.com/office/powerpoint/2010/main" val="11172568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a:t>
            </a:r>
            <a:r>
              <a:rPr lang="en-US" baseline="0" dirty="0"/>
              <a:t> </a:t>
            </a:r>
            <a:r>
              <a:rPr lang="en-US" dirty="0"/>
              <a:t>EFILE on Page 14 </a:t>
            </a:r>
            <a:r>
              <a:rPr lang="mr-IN" baseline="0" dirty="0"/>
              <a:t>–</a:t>
            </a:r>
            <a:r>
              <a:rPr lang="en-US" baseline="0" dirty="0"/>
              <a:t> Options </a:t>
            </a:r>
            <a:r>
              <a:rPr lang="mr-IN" baseline="0" dirty="0"/>
              <a:t>–</a:t>
            </a:r>
            <a:r>
              <a:rPr lang="en-US" baseline="0" dirty="0"/>
              <a:t> Click T1 Common (Note the EFILE log folder. You might want to demo the Wizard too</a:t>
            </a:r>
          </a:p>
          <a:p>
            <a:r>
              <a:rPr lang="en-US" baseline="0" dirty="0"/>
              <a:t>Mention the need to enter your On-line account number &amp; EFILE password</a:t>
            </a:r>
          </a:p>
          <a:p>
            <a:endParaRPr lang="en-US" baseline="0" dirty="0"/>
          </a:p>
          <a:p>
            <a:endParaRPr lang="en-US" dirty="0"/>
          </a:p>
        </p:txBody>
      </p:sp>
      <p:sp>
        <p:nvSpPr>
          <p:cNvPr id="4" name="Slide Number Placeholder 3"/>
          <p:cNvSpPr>
            <a:spLocks noGrp="1"/>
          </p:cNvSpPr>
          <p:nvPr>
            <p:ph type="sldNum" sz="quarter" idx="10"/>
          </p:nvPr>
        </p:nvSpPr>
        <p:spPr/>
        <p:txBody>
          <a:bodyPr/>
          <a:lstStyle/>
          <a:p>
            <a:fld id="{6B19A31D-4D4F-47CE-9926-B2771FC72306}" type="slidenum">
              <a:rPr lang="en-US" smtClean="0"/>
              <a:t>8</a:t>
            </a:fld>
            <a:endParaRPr lang="en-US"/>
          </a:p>
        </p:txBody>
      </p:sp>
    </p:spTree>
    <p:extLst>
      <p:ext uri="{BB962C8B-B14F-4D97-AF65-F5344CB8AC3E}">
        <p14:creationId xmlns:p14="http://schemas.microsoft.com/office/powerpoint/2010/main" val="12286008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iscuss the File tab on </a:t>
            </a:r>
            <a:r>
              <a:rPr lang="en-US" baseline="0" dirty="0" err="1"/>
              <a:t>Pg</a:t>
            </a:r>
            <a:r>
              <a:rPr lang="en-US" baseline="0" dirty="0"/>
              <a:t> 15</a:t>
            </a:r>
          </a:p>
          <a:p>
            <a:endParaRPr lang="en-US" baseline="0" dirty="0"/>
          </a:p>
          <a:p>
            <a:r>
              <a:rPr lang="en-US" baseline="0" dirty="0"/>
              <a:t>DESCRIBE HOW TO CHANGE A FILE’S LOCATION AND HOW TO LOCK THAT LOCATION</a:t>
            </a:r>
          </a:p>
        </p:txBody>
      </p:sp>
      <p:sp>
        <p:nvSpPr>
          <p:cNvPr id="4" name="Slide Number Placeholder 3"/>
          <p:cNvSpPr>
            <a:spLocks noGrp="1"/>
          </p:cNvSpPr>
          <p:nvPr>
            <p:ph type="sldNum" sz="quarter" idx="10"/>
          </p:nvPr>
        </p:nvSpPr>
        <p:spPr/>
        <p:txBody>
          <a:bodyPr/>
          <a:lstStyle/>
          <a:p>
            <a:fld id="{6B19A31D-4D4F-47CE-9926-B2771FC72306}" type="slidenum">
              <a:rPr lang="en-US" smtClean="0"/>
              <a:t>9</a:t>
            </a:fld>
            <a:endParaRPr lang="en-US"/>
          </a:p>
        </p:txBody>
      </p:sp>
    </p:spTree>
    <p:extLst>
      <p:ext uri="{BB962C8B-B14F-4D97-AF65-F5344CB8AC3E}">
        <p14:creationId xmlns:p14="http://schemas.microsoft.com/office/powerpoint/2010/main" val="16939164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Point out the Preparer settings on page 16</a:t>
            </a:r>
          </a:p>
          <a:p>
            <a:endParaRPr lang="en-US" baseline="0" dirty="0"/>
          </a:p>
          <a:p>
            <a:r>
              <a:rPr lang="en-US" baseline="0" dirty="0"/>
              <a:t>Explain how you can enter your CRA business number or </a:t>
            </a:r>
            <a:r>
              <a:rPr lang="en-US" baseline="0" dirty="0" err="1"/>
              <a:t>RepID</a:t>
            </a:r>
            <a:r>
              <a:rPr lang="en-US" baseline="0" dirty="0"/>
              <a:t> (for accessing client data at CRA’s website) </a:t>
            </a:r>
          </a:p>
          <a:p>
            <a:r>
              <a:rPr lang="en-US" baseline="0" dirty="0"/>
              <a:t>Also mention how you can use preparer initials to keep track of preparer and partner workflow</a:t>
            </a:r>
          </a:p>
        </p:txBody>
      </p:sp>
      <p:sp>
        <p:nvSpPr>
          <p:cNvPr id="4" name="Slide Number Placeholder 3"/>
          <p:cNvSpPr>
            <a:spLocks noGrp="1"/>
          </p:cNvSpPr>
          <p:nvPr>
            <p:ph type="sldNum" sz="quarter" idx="10"/>
          </p:nvPr>
        </p:nvSpPr>
        <p:spPr/>
        <p:txBody>
          <a:bodyPr/>
          <a:lstStyle/>
          <a:p>
            <a:fld id="{6B19A31D-4D4F-47CE-9926-B2771FC72306}" type="slidenum">
              <a:rPr lang="en-US" smtClean="0"/>
              <a:t>10</a:t>
            </a:fld>
            <a:endParaRPr lang="en-US"/>
          </a:p>
        </p:txBody>
      </p:sp>
    </p:spTree>
    <p:extLst>
      <p:ext uri="{BB962C8B-B14F-4D97-AF65-F5344CB8AC3E}">
        <p14:creationId xmlns:p14="http://schemas.microsoft.com/office/powerpoint/2010/main" val="6453849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Mention how Page 18 introduces a host of other options to consider</a:t>
            </a:r>
          </a:p>
        </p:txBody>
      </p:sp>
      <p:sp>
        <p:nvSpPr>
          <p:cNvPr id="4" name="Slide Number Placeholder 3"/>
          <p:cNvSpPr>
            <a:spLocks noGrp="1"/>
          </p:cNvSpPr>
          <p:nvPr>
            <p:ph type="sldNum" sz="quarter" idx="10"/>
          </p:nvPr>
        </p:nvSpPr>
        <p:spPr/>
        <p:txBody>
          <a:bodyPr/>
          <a:lstStyle/>
          <a:p>
            <a:fld id="{6B19A31D-4D4F-47CE-9926-B2771FC72306}" type="slidenum">
              <a:rPr lang="en-US" smtClean="0"/>
              <a:t>11</a:t>
            </a:fld>
            <a:endParaRPr lang="en-US"/>
          </a:p>
        </p:txBody>
      </p:sp>
    </p:spTree>
    <p:extLst>
      <p:ext uri="{BB962C8B-B14F-4D97-AF65-F5344CB8AC3E}">
        <p14:creationId xmlns:p14="http://schemas.microsoft.com/office/powerpoint/2010/main" val="13640641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png"/><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9" name="Picture 8" descr="profile-background.gi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50226" y="609600"/>
            <a:ext cx="5741773" cy="6248400"/>
          </a:xfrm>
          <a:prstGeom prst="rect">
            <a:avLst/>
          </a:prstGeom>
        </p:spPr>
      </p:pic>
      <p:sp>
        <p:nvSpPr>
          <p:cNvPr id="12" name="Text Placeholder 5"/>
          <p:cNvSpPr>
            <a:spLocks noGrp="1"/>
          </p:cNvSpPr>
          <p:nvPr>
            <p:ph type="body" sz="quarter" idx="12" hasCustomPrompt="1"/>
          </p:nvPr>
        </p:nvSpPr>
        <p:spPr>
          <a:xfrm>
            <a:off x="1438550" y="5014013"/>
            <a:ext cx="7083174" cy="1176193"/>
          </a:xfrm>
          <a:prstGeom prst="rect">
            <a:avLst/>
          </a:prstGeom>
        </p:spPr>
        <p:txBody>
          <a:bodyPr anchor="t" anchorCtr="0">
            <a:noAutofit/>
          </a:bodyPr>
          <a:lstStyle>
            <a:lvl1pPr marL="0" indent="0">
              <a:buFontTx/>
              <a:buNone/>
              <a:defRPr sz="2198" b="0" i="0" cap="none" spc="-31">
                <a:solidFill>
                  <a:schemeClr val="tx1"/>
                </a:solidFill>
                <a:latin typeface="+mn-lt"/>
                <a:cs typeface="Avenir Next Demi Bold"/>
              </a:defRPr>
            </a:lvl1pPr>
            <a:lvl2pPr marL="456741" indent="0">
              <a:buFontTx/>
              <a:buNone/>
              <a:defRPr sz="1500">
                <a:solidFill>
                  <a:schemeClr val="bg1"/>
                </a:solidFill>
              </a:defRPr>
            </a:lvl2pPr>
            <a:lvl3pPr marL="913485" indent="0">
              <a:buFontTx/>
              <a:buNone/>
              <a:defRPr sz="1500">
                <a:solidFill>
                  <a:schemeClr val="bg1"/>
                </a:solidFill>
              </a:defRPr>
            </a:lvl3pPr>
            <a:lvl4pPr marL="1370226" indent="0">
              <a:buFontTx/>
              <a:buNone/>
              <a:defRPr sz="1500">
                <a:solidFill>
                  <a:schemeClr val="bg1"/>
                </a:solidFill>
              </a:defRPr>
            </a:lvl4pPr>
            <a:lvl5pPr marL="1826965" indent="0">
              <a:buFontTx/>
              <a:buNone/>
              <a:defRPr sz="1500">
                <a:solidFill>
                  <a:schemeClr val="bg1"/>
                </a:solidFill>
              </a:defRPr>
            </a:lvl5pPr>
          </a:lstStyle>
          <a:p>
            <a:pPr lvl="0"/>
            <a:r>
              <a:rPr lang="en-US" dirty="0"/>
              <a:t>Click to add an author</a:t>
            </a:r>
          </a:p>
        </p:txBody>
      </p:sp>
      <p:sp>
        <p:nvSpPr>
          <p:cNvPr id="8" name="Date Placeholder 7"/>
          <p:cNvSpPr>
            <a:spLocks noGrp="1"/>
          </p:cNvSpPr>
          <p:nvPr>
            <p:ph type="dt" sz="half" idx="19"/>
          </p:nvPr>
        </p:nvSpPr>
        <p:spPr>
          <a:xfrm>
            <a:off x="1438550" y="4430582"/>
            <a:ext cx="7083174" cy="335107"/>
          </a:xfrm>
          <a:prstGeom prst="rect">
            <a:avLst/>
          </a:prstGeom>
        </p:spPr>
        <p:txBody>
          <a:bodyPr lIns="91424" tIns="45711" rIns="91424" bIns="45711" anchor="t" anchorCtr="0">
            <a:noAutofit/>
          </a:bodyPr>
          <a:lstStyle>
            <a:lvl1pPr>
              <a:defRPr sz="1600" spc="-31">
                <a:solidFill>
                  <a:schemeClr val="tx1"/>
                </a:solidFill>
                <a:latin typeface="+mn-lt"/>
              </a:defRPr>
            </a:lvl1pPr>
          </a:lstStyle>
          <a:p>
            <a:fld id="{4AD69C48-1A55-A744-96DC-6BD26E535E94}" type="datetimeFigureOut">
              <a:rPr lang="en-US" smtClean="0"/>
              <a:t>12/13/20</a:t>
            </a:fld>
            <a:endParaRPr lang="en-US"/>
          </a:p>
        </p:txBody>
      </p:sp>
      <p:sp>
        <p:nvSpPr>
          <p:cNvPr id="19" name="Title 18"/>
          <p:cNvSpPr>
            <a:spLocks noGrp="1"/>
          </p:cNvSpPr>
          <p:nvPr>
            <p:ph type="title" hasCustomPrompt="1"/>
          </p:nvPr>
        </p:nvSpPr>
        <p:spPr>
          <a:xfrm>
            <a:off x="1436972" y="1979097"/>
            <a:ext cx="7084753" cy="2437245"/>
          </a:xfrm>
          <a:prstGeom prst="rect">
            <a:avLst/>
          </a:prstGeom>
        </p:spPr>
        <p:txBody>
          <a:bodyPr wrap="square" anchor="b" anchorCtr="0">
            <a:noAutofit/>
          </a:bodyPr>
          <a:lstStyle>
            <a:lvl1pPr algn="l">
              <a:lnSpc>
                <a:spcPct val="95000"/>
              </a:lnSpc>
              <a:defRPr sz="6996" b="1" i="0" cap="none" spc="-31" baseline="0">
                <a:solidFill>
                  <a:schemeClr val="tx1"/>
                </a:solidFill>
                <a:latin typeface="+mj-lt"/>
              </a:defRPr>
            </a:lvl1pPr>
          </a:lstStyle>
          <a:p>
            <a:r>
              <a:rPr lang="en-US" dirty="0"/>
              <a:t>Click to add a title</a:t>
            </a:r>
          </a:p>
        </p:txBody>
      </p:sp>
      <p:pic>
        <p:nvPicPr>
          <p:cNvPr id="10" name="Picture 9" descr="profile logo copy.eps"/>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523211" y="527468"/>
            <a:ext cx="1812367" cy="519545"/>
          </a:xfrm>
          <a:prstGeom prst="rect">
            <a:avLst/>
          </a:prstGeom>
        </p:spPr>
      </p:pic>
    </p:spTree>
    <p:extLst>
      <p:ext uri="{BB962C8B-B14F-4D97-AF65-F5344CB8AC3E}">
        <p14:creationId xmlns:p14="http://schemas.microsoft.com/office/powerpoint/2010/main" val="1380675438"/>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lain Big Title">
    <p:spTree>
      <p:nvGrpSpPr>
        <p:cNvPr id="1" name=""/>
        <p:cNvGrpSpPr/>
        <p:nvPr/>
      </p:nvGrpSpPr>
      <p:grpSpPr>
        <a:xfrm>
          <a:off x="0" y="0"/>
          <a:ext cx="0" cy="0"/>
          <a:chOff x="0" y="0"/>
          <a:chExt cx="0" cy="0"/>
        </a:xfrm>
      </p:grpSpPr>
      <p:graphicFrame>
        <p:nvGraphicFramePr>
          <p:cNvPr id="178" name="Rectangle 773" hidden="1"/>
          <p:cNvGraphicFramePr>
            <a:graphicFrameLocks/>
          </p:cNvGraphicFramePr>
          <p:nvPr>
            <p:custDataLst>
              <p:tags r:id="rId2"/>
            </p:custDataLst>
          </p:nvPr>
        </p:nvGraphicFramePr>
        <p:xfrm>
          <a:off x="0" y="0"/>
          <a:ext cx="211612" cy="158750"/>
        </p:xfrm>
        <a:graphic>
          <a:graphicData uri="http://schemas.openxmlformats.org/presentationml/2006/ole">
            <mc:AlternateContent xmlns:mc="http://schemas.openxmlformats.org/markup-compatibility/2006">
              <mc:Choice xmlns:v="urn:schemas-microsoft-com:vml" Requires="v">
                <p:oleObj spid="_x0000_s14609"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1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56" name="Rectangle 808"/>
          <p:cNvSpPr>
            <a:spLocks noGrp="1" noChangeArrowheads="1"/>
          </p:cNvSpPr>
          <p:nvPr>
            <p:ph type="ctrTitle" sz="quarter"/>
          </p:nvPr>
        </p:nvSpPr>
        <p:spPr>
          <a:xfrm>
            <a:off x="708170" y="2974957"/>
            <a:ext cx="10750260" cy="681038"/>
          </a:xfrm>
          <a:prstGeom prst="rect">
            <a:avLst/>
          </a:prstGeom>
        </p:spPr>
        <p:txBody>
          <a:bodyPr anchor="ctr"/>
          <a:lstStyle>
            <a:lvl1pPr algn="ctr" rtl="0" eaLnBrk="0" fontAlgn="base" hangingPunct="0">
              <a:spcBef>
                <a:spcPct val="0"/>
              </a:spcBef>
              <a:spcAft>
                <a:spcPct val="0"/>
              </a:spcAft>
              <a:defRPr lang="en-US" sz="6000" b="0" dirty="0">
                <a:solidFill>
                  <a:schemeClr val="accent1"/>
                </a:solidFill>
                <a:latin typeface="+mj-lt"/>
                <a:ea typeface="+mj-ea"/>
                <a:cs typeface="+mj-cs"/>
              </a:defRPr>
            </a:lvl1pPr>
          </a:lstStyle>
          <a:p>
            <a:r>
              <a:rPr lang="en-US"/>
              <a:t>Click to edit Master title style</a:t>
            </a:r>
            <a:endParaRPr lang="en-US" dirty="0"/>
          </a:p>
        </p:txBody>
      </p:sp>
      <p:sp>
        <p:nvSpPr>
          <p:cNvPr id="10"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1"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8" name="Picture 7"/>
          <p:cNvPicPr>
            <a:picLocks noChangeAspect="1"/>
          </p:cNvPicPr>
          <p:nvPr userDrawn="1"/>
        </p:nvPicPr>
        <p:blipFill>
          <a:blip r:embed="rId5"/>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086426232"/>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Slide - Thriv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88821" cy="6857998"/>
          </a:xfrm>
          <a:prstGeom prst="rect">
            <a:avLst/>
          </a:prstGeom>
        </p:spPr>
      </p:pic>
      <p:sp>
        <p:nvSpPr>
          <p:cNvPr id="5" name="TextBox 4"/>
          <p:cNvSpPr txBox="1"/>
          <p:nvPr userDrawn="1"/>
        </p:nvSpPr>
        <p:spPr>
          <a:xfrm>
            <a:off x="7824141" y="331846"/>
            <a:ext cx="3909530" cy="400110"/>
          </a:xfrm>
          <a:prstGeom prst="rect">
            <a:avLst/>
          </a:prstGeom>
          <a:noFill/>
        </p:spPr>
        <p:txBody>
          <a:bodyPr wrap="square" rtlCol="0">
            <a:spAutoFit/>
          </a:bodyPr>
          <a:lstStyle/>
          <a:p>
            <a:pPr algn="r"/>
            <a:r>
              <a:rPr lang="en-CA" sz="1999" dirty="0">
                <a:solidFill>
                  <a:schemeClr val="bg1"/>
                </a:solidFill>
                <a:latin typeface="Avenir Next Medium"/>
              </a:rPr>
              <a:t>#</a:t>
            </a:r>
            <a:r>
              <a:rPr lang="en-CA" sz="1999" dirty="0">
                <a:solidFill>
                  <a:schemeClr val="bg1"/>
                </a:solidFill>
                <a:latin typeface="Avenir Next Regular"/>
              </a:rPr>
              <a:t>Intuit</a:t>
            </a:r>
            <a:r>
              <a:rPr lang="en-CA" sz="1999" dirty="0">
                <a:solidFill>
                  <a:schemeClr val="bg1"/>
                </a:solidFill>
                <a:latin typeface="Avenir Next Medium"/>
              </a:rPr>
              <a:t>THRIVE</a:t>
            </a:r>
          </a:p>
        </p:txBody>
      </p:sp>
      <p:sp>
        <p:nvSpPr>
          <p:cNvPr id="6" name="Title 1"/>
          <p:cNvSpPr>
            <a:spLocks noGrp="1"/>
          </p:cNvSpPr>
          <p:nvPr>
            <p:ph type="ctrTitle"/>
          </p:nvPr>
        </p:nvSpPr>
        <p:spPr>
          <a:xfrm>
            <a:off x="804691" y="1087338"/>
            <a:ext cx="9835853" cy="2387600"/>
          </a:xfrm>
        </p:spPr>
        <p:txBody>
          <a:bodyPr anchor="b"/>
          <a:lstStyle>
            <a:lvl1pPr algn="l">
              <a:defRPr sz="4799">
                <a:solidFill>
                  <a:schemeClr val="bg1"/>
                </a:solidFill>
              </a:defRPr>
            </a:lvl1pPr>
          </a:lstStyle>
          <a:p>
            <a:r>
              <a:rPr lang="en-US"/>
              <a:t>Click to edit Master title style</a:t>
            </a:r>
            <a:endParaRPr lang="en-CA" dirty="0"/>
          </a:p>
        </p:txBody>
      </p:sp>
      <p:sp>
        <p:nvSpPr>
          <p:cNvPr id="8" name="Subtitle 2"/>
          <p:cNvSpPr>
            <a:spLocks noGrp="1"/>
          </p:cNvSpPr>
          <p:nvPr>
            <p:ph type="subTitle" idx="1"/>
          </p:nvPr>
        </p:nvSpPr>
        <p:spPr>
          <a:xfrm>
            <a:off x="804691" y="3567014"/>
            <a:ext cx="9835853" cy="1655763"/>
          </a:xfrm>
        </p:spPr>
        <p:txBody>
          <a:bodyPr/>
          <a:lstStyle>
            <a:lvl1pPr marL="0" indent="0" algn="l">
              <a:buNone/>
              <a:defRPr sz="2399">
                <a:solidFill>
                  <a:schemeClr val="bg1"/>
                </a:solidFill>
              </a:defRPr>
            </a:lvl1pPr>
            <a:lvl2pPr marL="457064" indent="0" algn="ctr">
              <a:buNone/>
              <a:defRPr sz="1999"/>
            </a:lvl2pPr>
            <a:lvl3pPr marL="914126" indent="0" algn="ctr">
              <a:buNone/>
              <a:defRPr sz="1799"/>
            </a:lvl3pPr>
            <a:lvl4pPr marL="1371190" indent="0" algn="ctr">
              <a:buNone/>
              <a:defRPr sz="1600"/>
            </a:lvl4pPr>
            <a:lvl5pPr marL="1828252" indent="0" algn="ctr">
              <a:buNone/>
              <a:defRPr sz="1600"/>
            </a:lvl5pPr>
            <a:lvl6pPr marL="2285314" indent="0" algn="ctr">
              <a:buNone/>
              <a:defRPr sz="1600"/>
            </a:lvl6pPr>
            <a:lvl7pPr marL="2742376" indent="0" algn="ctr">
              <a:buNone/>
              <a:defRPr sz="1600"/>
            </a:lvl7pPr>
            <a:lvl8pPr marL="3199440" indent="0" algn="ctr">
              <a:buNone/>
              <a:defRPr sz="1600"/>
            </a:lvl8pPr>
            <a:lvl9pPr marL="3656504" indent="0" algn="ctr">
              <a:buNone/>
              <a:defRPr sz="1600"/>
            </a:lvl9pPr>
          </a:lstStyle>
          <a:p>
            <a:r>
              <a:rPr lang="en-US"/>
              <a:t>Click to edit Master subtitle style</a:t>
            </a:r>
            <a:endParaRPr lang="en-CA" dirty="0"/>
          </a:p>
        </p:txBody>
      </p:sp>
    </p:spTree>
    <p:extLst>
      <p:ext uri="{BB962C8B-B14F-4D97-AF65-F5344CB8AC3E}">
        <p14:creationId xmlns:p14="http://schemas.microsoft.com/office/powerpoint/2010/main" val="16237770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lt Title Slide">
    <p:spTree>
      <p:nvGrpSpPr>
        <p:cNvPr id="1" name=""/>
        <p:cNvGrpSpPr/>
        <p:nvPr/>
      </p:nvGrpSpPr>
      <p:grpSpPr>
        <a:xfrm>
          <a:off x="0" y="0"/>
          <a:ext cx="0" cy="0"/>
          <a:chOff x="0" y="0"/>
          <a:chExt cx="0" cy="0"/>
        </a:xfrm>
      </p:grpSpPr>
      <p:sp>
        <p:nvSpPr>
          <p:cNvPr id="8" name="Rectangle 7"/>
          <p:cNvSpPr/>
          <p:nvPr userDrawn="1"/>
        </p:nvSpPr>
        <p:spPr>
          <a:xfrm>
            <a:off x="0" y="2529584"/>
            <a:ext cx="12188824" cy="2587831"/>
          </a:xfrm>
          <a:prstGeom prst="rect">
            <a:avLst/>
          </a:prstGeom>
          <a:gradFill>
            <a:gsLst>
              <a:gs pos="0">
                <a:srgbClr val="FFFFFF">
                  <a:alpha val="10000"/>
                </a:srgbClr>
              </a:gs>
              <a:gs pos="100000">
                <a:srgbClr val="FFFFFF">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aphicFrame>
        <p:nvGraphicFramePr>
          <p:cNvPr id="178" name="Rectangle 773" hidden="1"/>
          <p:cNvGraphicFramePr>
            <a:graphicFrameLocks/>
          </p:cNvGraphicFramePr>
          <p:nvPr>
            <p:custDataLst>
              <p:tags r:id="rId2"/>
            </p:custDataLst>
          </p:nvPr>
        </p:nvGraphicFramePr>
        <p:xfrm>
          <a:off x="0" y="0"/>
          <a:ext cx="211612" cy="158750"/>
        </p:xfrm>
        <a:graphic>
          <a:graphicData uri="http://schemas.openxmlformats.org/presentationml/2006/ole">
            <mc:AlternateContent xmlns:mc="http://schemas.openxmlformats.org/markup-compatibility/2006">
              <mc:Choice xmlns:v="urn:schemas-microsoft-com:vml" Requires="v">
                <p:oleObj spid="_x0000_s13586"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1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56" name="Rectangle 808"/>
          <p:cNvSpPr>
            <a:spLocks noGrp="1" noChangeArrowheads="1"/>
          </p:cNvSpPr>
          <p:nvPr>
            <p:ph type="ctrTitle" sz="quarter"/>
          </p:nvPr>
        </p:nvSpPr>
        <p:spPr>
          <a:xfrm>
            <a:off x="647593" y="3226896"/>
            <a:ext cx="10742720" cy="681038"/>
          </a:xfrm>
          <a:prstGeom prst="rect">
            <a:avLst/>
          </a:prstGeom>
        </p:spPr>
        <p:txBody>
          <a:bodyPr anchor="b"/>
          <a:lstStyle>
            <a:lvl1pPr algn="l">
              <a:defRPr sz="4200" b="0">
                <a:solidFill>
                  <a:schemeClr val="accent1"/>
                </a:solidFill>
                <a:latin typeface="+mj-lt"/>
              </a:defRPr>
            </a:lvl1pPr>
          </a:lstStyle>
          <a:p>
            <a:r>
              <a:rPr lang="en-US"/>
              <a:t>Click to edit Master title style</a:t>
            </a:r>
            <a:endParaRPr lang="en-US" dirty="0"/>
          </a:p>
        </p:txBody>
      </p:sp>
      <p:sp>
        <p:nvSpPr>
          <p:cNvPr id="2857" name="Rectangle 809"/>
          <p:cNvSpPr>
            <a:spLocks noGrp="1" noChangeArrowheads="1"/>
          </p:cNvSpPr>
          <p:nvPr>
            <p:ph type="subTitle" sz="quarter" idx="1"/>
          </p:nvPr>
        </p:nvSpPr>
        <p:spPr>
          <a:xfrm>
            <a:off x="646849" y="4086856"/>
            <a:ext cx="10743463" cy="388937"/>
          </a:xfrm>
          <a:prstGeom prst="rect">
            <a:avLst/>
          </a:prstGeom>
        </p:spPr>
        <p:txBody>
          <a:bodyPr tIns="0" bIns="0"/>
          <a:lstStyle>
            <a:lvl1pPr marL="0" indent="0">
              <a:buFont typeface="Times" pitchFamily="18" charset="0"/>
              <a:buNone/>
              <a:defRPr sz="2800">
                <a:solidFill>
                  <a:schemeClr val="accent1"/>
                </a:solidFill>
                <a:latin typeface="+mj-lt"/>
              </a:defRPr>
            </a:lvl1pPr>
          </a:lstStyle>
          <a:p>
            <a:r>
              <a:rPr lang="en-US" dirty="0"/>
              <a:t>Click to edit Master subtitle style</a:t>
            </a:r>
          </a:p>
        </p:txBody>
      </p:sp>
      <p:pic>
        <p:nvPicPr>
          <p:cNvPr id="7" name="Picture 6"/>
          <p:cNvPicPr>
            <a:picLocks noChangeAspect="1"/>
          </p:cNvPicPr>
          <p:nvPr/>
        </p:nvPicPr>
        <p:blipFill rotWithShape="1">
          <a:blip r:embed="rId5" cstate="print">
            <a:extLst>
              <a:ext uri="{28A0092B-C50C-407E-A947-70E740481C1C}">
                <a14:useLocalDpi xmlns:a14="http://schemas.microsoft.com/office/drawing/2010/main" val="0"/>
              </a:ext>
            </a:extLst>
          </a:blip>
          <a:srcRect t="26607" r="29316" b="1"/>
          <a:stretch/>
        </p:blipFill>
        <p:spPr>
          <a:xfrm>
            <a:off x="9073244" y="0"/>
            <a:ext cx="3115581" cy="3171206"/>
          </a:xfrm>
          <a:prstGeom prst="rect">
            <a:avLst/>
          </a:prstGeom>
        </p:spPr>
      </p:pic>
      <p:pic>
        <p:nvPicPr>
          <p:cNvPr id="11" name="Picture 10"/>
          <p:cNvPicPr>
            <a:picLocks noChangeAspect="1"/>
          </p:cNvPicPr>
          <p:nvPr userDrawn="1"/>
        </p:nvPicPr>
        <p:blipFill rotWithShape="1">
          <a:blip r:embed="rId5" cstate="print">
            <a:extLst>
              <a:ext uri="{28A0092B-C50C-407E-A947-70E740481C1C}">
                <a14:useLocalDpi xmlns:a14="http://schemas.microsoft.com/office/drawing/2010/main" val="0"/>
              </a:ext>
            </a:extLst>
          </a:blip>
          <a:srcRect t="26607" r="29316" b="1"/>
          <a:stretch/>
        </p:blipFill>
        <p:spPr>
          <a:xfrm>
            <a:off x="9073244" y="0"/>
            <a:ext cx="3115581" cy="3171206"/>
          </a:xfrm>
          <a:prstGeom prst="rect">
            <a:avLst/>
          </a:prstGeom>
        </p:spPr>
      </p:pic>
      <p:sp>
        <p:nvSpPr>
          <p:cNvPr id="3" name="Text Placeholder 2"/>
          <p:cNvSpPr>
            <a:spLocks noGrp="1"/>
          </p:cNvSpPr>
          <p:nvPr>
            <p:ph type="body" sz="quarter" idx="10"/>
          </p:nvPr>
        </p:nvSpPr>
        <p:spPr>
          <a:xfrm>
            <a:off x="661896" y="5134067"/>
            <a:ext cx="4365716" cy="547688"/>
          </a:xfrm>
          <a:prstGeom prst="rect">
            <a:avLst/>
          </a:prstGeom>
        </p:spPr>
        <p:txBody>
          <a:bodyPr/>
          <a:lstStyle>
            <a:lvl1pPr marL="0" indent="0">
              <a:buNone/>
              <a:defRPr sz="2000">
                <a:solidFill>
                  <a:schemeClr val="tx2"/>
                </a:solidFill>
                <a:latin typeface="+mj-lt"/>
              </a:defRPr>
            </a:lvl1pPr>
          </a:lstStyle>
          <a:p>
            <a:pPr lvl="0"/>
            <a:r>
              <a:rPr lang="en-US"/>
              <a:t>Click to edit Master text styles</a:t>
            </a:r>
          </a:p>
        </p:txBody>
      </p:sp>
      <p:sp>
        <p:nvSpPr>
          <p:cNvPr id="10"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2"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14" name="Picture 13"/>
          <p:cNvPicPr>
            <a:picLocks noChangeAspect="1"/>
          </p:cNvPicPr>
          <p:nvPr userDrawn="1"/>
        </p:nvPicPr>
        <p:blipFill>
          <a:blip r:embed="rId6"/>
          <a:stretch>
            <a:fillRect/>
          </a:stretch>
        </p:blipFill>
        <p:spPr>
          <a:xfrm>
            <a:off x="9523412" y="702469"/>
            <a:ext cx="2802894" cy="1235267"/>
          </a:xfrm>
          <a:prstGeom prst="rect">
            <a:avLst/>
          </a:prstGeom>
        </p:spPr>
      </p:pic>
    </p:spTree>
    <p:extLst>
      <p:ext uri="{BB962C8B-B14F-4D97-AF65-F5344CB8AC3E}">
        <p14:creationId xmlns:p14="http://schemas.microsoft.com/office/powerpoint/2010/main" val="16622667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ig Idea - Stylized">
    <p:spTree>
      <p:nvGrpSpPr>
        <p:cNvPr id="1" name=""/>
        <p:cNvGrpSpPr/>
        <p:nvPr/>
      </p:nvGrpSpPr>
      <p:grpSpPr>
        <a:xfrm>
          <a:off x="0" y="0"/>
          <a:ext cx="0" cy="0"/>
          <a:chOff x="0" y="0"/>
          <a:chExt cx="0" cy="0"/>
        </a:xfrm>
      </p:grpSpPr>
      <p:sp>
        <p:nvSpPr>
          <p:cNvPr id="3" name="Rectangle 2"/>
          <p:cNvSpPr/>
          <p:nvPr/>
        </p:nvSpPr>
        <p:spPr>
          <a:xfrm>
            <a:off x="0" y="1877291"/>
            <a:ext cx="12188825" cy="2587831"/>
          </a:xfrm>
          <a:prstGeom prst="rect">
            <a:avLst/>
          </a:prstGeom>
          <a:solidFill>
            <a:srgbClr val="FFFFFF">
              <a:alpha val="66000"/>
            </a:srgb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 name="Rectangle 808"/>
          <p:cNvSpPr>
            <a:spLocks noGrp="1" noChangeArrowheads="1"/>
          </p:cNvSpPr>
          <p:nvPr>
            <p:ph type="ctrTitle" sz="quarter"/>
          </p:nvPr>
        </p:nvSpPr>
        <p:spPr>
          <a:xfrm>
            <a:off x="279773" y="2855650"/>
            <a:ext cx="11589728" cy="681038"/>
          </a:xfrm>
          <a:prstGeom prst="rect">
            <a:avLst/>
          </a:prstGeom>
        </p:spPr>
        <p:txBody>
          <a:bodyPr anchor="ctr"/>
          <a:lstStyle>
            <a:lvl1pPr algn="ctr" rtl="0" eaLnBrk="0" fontAlgn="base" hangingPunct="0">
              <a:spcBef>
                <a:spcPct val="0"/>
              </a:spcBef>
              <a:spcAft>
                <a:spcPct val="0"/>
              </a:spcAft>
              <a:defRPr lang="en-US" sz="48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cxnSp>
        <p:nvCxnSpPr>
          <p:cNvPr id="6" name="Straight Connector 5"/>
          <p:cNvCxnSpPr/>
          <p:nvPr userDrawn="1"/>
        </p:nvCxnSpPr>
        <p:spPr bwMode="auto">
          <a:xfrm>
            <a:off x="0" y="1877290"/>
            <a:ext cx="12188825" cy="0"/>
          </a:xfrm>
          <a:prstGeom prst="line">
            <a:avLst/>
          </a:prstGeom>
          <a:solidFill>
            <a:schemeClr val="accent1"/>
          </a:solidFill>
          <a:ln w="9525" cap="flat" cmpd="sng" algn="ctr">
            <a:gradFill>
              <a:gsLst>
                <a:gs pos="31000">
                  <a:srgbClr val="7F92C1"/>
                </a:gs>
                <a:gs pos="0">
                  <a:schemeClr val="accent1"/>
                </a:gs>
                <a:gs pos="100000">
                  <a:schemeClr val="accent1">
                    <a:lumMod val="20000"/>
                    <a:lumOff val="80000"/>
                  </a:schemeClr>
                </a:gs>
              </a:gsLst>
              <a:lin ang="2700000" scaled="0"/>
            </a:gradFill>
            <a:prstDash val="solid"/>
            <a:round/>
            <a:headEnd type="none" w="sm" len="sm"/>
            <a:tailEnd type="none" w="sm" len="sm"/>
          </a:ln>
          <a:effectLst/>
        </p:spPr>
      </p:cxnSp>
      <p:cxnSp>
        <p:nvCxnSpPr>
          <p:cNvPr id="8" name="Straight Connector 7"/>
          <p:cNvCxnSpPr/>
          <p:nvPr/>
        </p:nvCxnSpPr>
        <p:spPr bwMode="auto">
          <a:xfrm>
            <a:off x="0" y="4465121"/>
            <a:ext cx="12188825" cy="0"/>
          </a:xfrm>
          <a:prstGeom prst="line">
            <a:avLst/>
          </a:prstGeom>
          <a:solidFill>
            <a:schemeClr val="accent1"/>
          </a:solidFill>
          <a:ln w="9525" cap="flat" cmpd="sng" algn="ctr">
            <a:gradFill>
              <a:gsLst>
                <a:gs pos="72000">
                  <a:srgbClr val="7F92C1"/>
                </a:gs>
                <a:gs pos="100000">
                  <a:schemeClr val="accent1"/>
                </a:gs>
                <a:gs pos="0">
                  <a:schemeClr val="accent1">
                    <a:lumMod val="20000"/>
                    <a:lumOff val="80000"/>
                  </a:schemeClr>
                </a:gs>
              </a:gsLst>
              <a:lin ang="2700000" scaled="0"/>
            </a:gradFill>
            <a:prstDash val="solid"/>
            <a:round/>
            <a:headEnd type="none" w="sm" len="sm"/>
            <a:tailEnd type="none" w="sm" len="sm"/>
          </a:ln>
          <a:effectLst/>
        </p:spPr>
      </p:cxnSp>
      <p:sp>
        <p:nvSpPr>
          <p:cNvPr id="13"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4"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11" name="Picture 10"/>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38751412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Content Placeholder 2"/>
          <p:cNvSpPr>
            <a:spLocks noGrp="1"/>
          </p:cNvSpPr>
          <p:nvPr>
            <p:ph idx="1"/>
          </p:nvPr>
        </p:nvSpPr>
        <p:spPr>
          <a:xfrm>
            <a:off x="303213" y="990600"/>
            <a:ext cx="11582400" cy="5410200"/>
          </a:xfrm>
          <a:prstGeom prst="rect">
            <a:avLst/>
          </a:prstGeom>
        </p:spPr>
        <p:txBody>
          <a:bodyPr/>
          <a:lstStyle>
            <a:lvl1pPr marL="233363" indent="-233363">
              <a:spcBef>
                <a:spcPts val="600"/>
              </a:spcBef>
              <a:spcAft>
                <a:spcPts val="600"/>
              </a:spcAft>
              <a:buClr>
                <a:schemeClr val="accent1"/>
              </a:buClr>
              <a:buFont typeface="Wingdings" panose="05000000000000000000" pitchFamily="2" charset="2"/>
              <a:buChar char="v"/>
              <a:defRPr sz="2600">
                <a:solidFill>
                  <a:schemeClr val="tx2"/>
                </a:solidFill>
              </a:defRPr>
            </a:lvl1pPr>
            <a:lvl2pPr marL="742950" indent="-285750">
              <a:spcBef>
                <a:spcPts val="600"/>
              </a:spcBef>
              <a:spcAft>
                <a:spcPts val="600"/>
              </a:spcAft>
              <a:buClr>
                <a:schemeClr val="accent1"/>
              </a:buClr>
              <a:buFont typeface="Wingdings" panose="05000000000000000000" pitchFamily="2" charset="2"/>
              <a:buChar char="Ø"/>
              <a:defRPr sz="2400">
                <a:solidFill>
                  <a:schemeClr val="tx2"/>
                </a:solidFill>
              </a:defRPr>
            </a:lvl2pPr>
            <a:lvl3pPr marL="1143000" indent="-228600">
              <a:spcBef>
                <a:spcPts val="600"/>
              </a:spcBef>
              <a:spcAft>
                <a:spcPts val="600"/>
              </a:spcAft>
              <a:buClr>
                <a:schemeClr val="accent1"/>
              </a:buClr>
              <a:buFont typeface="Wingdings" panose="05000000000000000000" pitchFamily="2" charset="2"/>
              <a:buChar char="Ø"/>
              <a:defRPr sz="2200">
                <a:solidFill>
                  <a:schemeClr val="tx2"/>
                </a:solidFill>
              </a:defRPr>
            </a:lvl3pPr>
            <a:lvl4pPr marL="1600200" indent="-228600">
              <a:spcBef>
                <a:spcPts val="600"/>
              </a:spcBef>
              <a:spcAft>
                <a:spcPts val="600"/>
              </a:spcAft>
              <a:buClr>
                <a:schemeClr val="accent1"/>
              </a:buClr>
              <a:buFont typeface="Wingdings" panose="05000000000000000000" pitchFamily="2" charset="2"/>
              <a:buChar char="Ø"/>
              <a:defRPr sz="2000">
                <a:solidFill>
                  <a:schemeClr val="tx2"/>
                </a:solidFill>
              </a:defRPr>
            </a:lvl4pPr>
            <a:lvl5pPr marL="2057400" indent="-228600">
              <a:spcBef>
                <a:spcPts val="600"/>
              </a:spcBef>
              <a:spcAft>
                <a:spcPts val="600"/>
              </a:spcAft>
              <a:buClr>
                <a:schemeClr val="accent1"/>
              </a:buClr>
              <a:buFont typeface="Wingdings" panose="05000000000000000000" pitchFamily="2" charset="2"/>
              <a:buChar char="Ø"/>
              <a:defRPr sz="180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1" y="156161"/>
            <a:ext cx="12188825" cy="679861"/>
          </a:xfrm>
          <a:prstGeom prst="rect">
            <a:avLst/>
          </a:prstGeom>
        </p:spPr>
        <p:txBody>
          <a:bodyPr/>
          <a:lstStyle>
            <a:lvl1pPr>
              <a:defRPr lang="en-US" sz="40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sp>
        <p:nvSpPr>
          <p:cNvPr id="16"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7"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10" name="Picture 9"/>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836867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7" name="Title 1"/>
          <p:cNvSpPr>
            <a:spLocks noGrp="1"/>
          </p:cNvSpPr>
          <p:nvPr>
            <p:ph type="title"/>
          </p:nvPr>
        </p:nvSpPr>
        <p:spPr>
          <a:xfrm>
            <a:off x="-1" y="156161"/>
            <a:ext cx="12188825" cy="679861"/>
          </a:xfrm>
          <a:prstGeom prst="rect">
            <a:avLst/>
          </a:prstGeom>
        </p:spPr>
        <p:txBody>
          <a:bodyPr/>
          <a:lstStyle>
            <a:lvl1pPr>
              <a:defRPr lang="en-US" sz="40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sp>
        <p:nvSpPr>
          <p:cNvPr id="15"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6"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8" name="Picture 7"/>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000295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3"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4"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6" name="Picture 5"/>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11617327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lank no logo - w/pg# &amp; confidential tag">
    <p:spTree>
      <p:nvGrpSpPr>
        <p:cNvPr id="1" name=""/>
        <p:cNvGrpSpPr/>
        <p:nvPr/>
      </p:nvGrpSpPr>
      <p:grpSpPr>
        <a:xfrm>
          <a:off x="0" y="0"/>
          <a:ext cx="0" cy="0"/>
          <a:chOff x="0" y="0"/>
          <a:chExt cx="0" cy="0"/>
        </a:xfrm>
      </p:grpSpPr>
      <p:sp>
        <p:nvSpPr>
          <p:cNvPr id="5"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6" name="Picture 5">
            <a:extLst>
              <a:ext uri="{FF2B5EF4-FFF2-40B4-BE49-F238E27FC236}">
                <a16:creationId xmlns:a16="http://schemas.microsoft.com/office/drawing/2014/main" id="{E37FC1EB-0E93-49BC-A789-875D1A7F4D79}"/>
              </a:ext>
            </a:extLst>
          </p:cNvPr>
          <p:cNvPicPr>
            <a:picLocks noChangeAspect="1"/>
          </p:cNvPicPr>
          <p:nvPr userDrawn="1"/>
        </p:nvPicPr>
        <p:blipFill>
          <a:blip r:embed="rId2"/>
          <a:stretch>
            <a:fillRect/>
          </a:stretch>
        </p:blipFill>
        <p:spPr>
          <a:xfrm>
            <a:off x="10437812" y="6171784"/>
            <a:ext cx="1548420" cy="682406"/>
          </a:xfrm>
          <a:prstGeom prst="rect">
            <a:avLst/>
          </a:prstGeom>
        </p:spPr>
      </p:pic>
    </p:spTree>
    <p:extLst>
      <p:ext uri="{BB962C8B-B14F-4D97-AF65-F5344CB8AC3E}">
        <p14:creationId xmlns:p14="http://schemas.microsoft.com/office/powerpoint/2010/main" val="38488709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TL with lt gray box">
    <p:spTree>
      <p:nvGrpSpPr>
        <p:cNvPr id="1" name=""/>
        <p:cNvGrpSpPr/>
        <p:nvPr/>
      </p:nvGrpSpPr>
      <p:grpSpPr>
        <a:xfrm>
          <a:off x="0" y="0"/>
          <a:ext cx="0" cy="0"/>
          <a:chOff x="0" y="0"/>
          <a:chExt cx="0" cy="0"/>
        </a:xfrm>
      </p:grpSpPr>
      <p:sp>
        <p:nvSpPr>
          <p:cNvPr id="3" name="Rectangle 2"/>
          <p:cNvSpPr/>
          <p:nvPr/>
        </p:nvSpPr>
        <p:spPr>
          <a:xfrm>
            <a:off x="1" y="1066800"/>
            <a:ext cx="12188825" cy="5127008"/>
          </a:xfrm>
          <a:prstGeom prst="rect">
            <a:avLst/>
          </a:prstGeom>
          <a:solidFill>
            <a:schemeClr val="bg1">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1" name="Title 1"/>
          <p:cNvSpPr>
            <a:spLocks noGrp="1"/>
          </p:cNvSpPr>
          <p:nvPr>
            <p:ph type="title"/>
          </p:nvPr>
        </p:nvSpPr>
        <p:spPr>
          <a:xfrm>
            <a:off x="-1" y="156161"/>
            <a:ext cx="12188825" cy="679861"/>
          </a:xfrm>
          <a:prstGeom prst="rect">
            <a:avLst/>
          </a:prstGeom>
        </p:spPr>
        <p:txBody>
          <a:bodyPr/>
          <a:lstStyle>
            <a:lvl1pPr>
              <a:defRPr lang="en-US" sz="40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sp>
        <p:nvSpPr>
          <p:cNvPr id="10" name="Rectangle 9"/>
          <p:cNvSpPr/>
          <p:nvPr userDrawn="1"/>
        </p:nvSpPr>
        <p:spPr>
          <a:xfrm>
            <a:off x="1" y="1066800"/>
            <a:ext cx="12188825" cy="5127008"/>
          </a:xfrm>
          <a:prstGeom prst="rect">
            <a:avLst/>
          </a:prstGeom>
          <a:solidFill>
            <a:schemeClr val="bg1">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7"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9" name="Picture 8"/>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1421986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Picture and Text">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0" y="0"/>
            <a:ext cx="5029200" cy="6382693"/>
          </a:xfrm>
          <a:prstGeom prst="rect">
            <a:avLst/>
          </a:prstGeom>
        </p:spPr>
        <p:txBody>
          <a:bodyPr anchor="ctr"/>
          <a:lstStyle>
            <a:lvl1pPr marL="0" indent="0" algn="ctr">
              <a:buNone/>
              <a:defRPr/>
            </a:lvl1pPr>
          </a:lstStyle>
          <a:p>
            <a:r>
              <a:rPr lang="en-US" dirty="0"/>
              <a:t>This is a picture placeholder</a:t>
            </a:r>
          </a:p>
        </p:txBody>
      </p:sp>
      <p:sp>
        <p:nvSpPr>
          <p:cNvPr id="10" name="Text Placeholder 9"/>
          <p:cNvSpPr>
            <a:spLocks noGrp="1"/>
          </p:cNvSpPr>
          <p:nvPr>
            <p:ph type="body" sz="quarter" idx="12"/>
          </p:nvPr>
        </p:nvSpPr>
        <p:spPr>
          <a:xfrm>
            <a:off x="5775325" y="304800"/>
            <a:ext cx="6111875" cy="724277"/>
          </a:xfrm>
          <a:prstGeom prst="rect">
            <a:avLst/>
          </a:prstGeom>
        </p:spPr>
        <p:txBody>
          <a:bodyPr anchor="t"/>
          <a:lstStyle>
            <a:lvl1pPr marL="0" indent="0" algn="ctr">
              <a:buNone/>
              <a:defRPr sz="3200">
                <a:solidFill>
                  <a:schemeClr val="accent1"/>
                </a:solidFill>
                <a:latin typeface="+mj-lt"/>
              </a:defRPr>
            </a:lvl1pPr>
          </a:lstStyle>
          <a:p>
            <a:pPr lvl="0"/>
            <a:r>
              <a:rPr lang="en-US"/>
              <a:t>Click to edit Master text styles</a:t>
            </a:r>
          </a:p>
        </p:txBody>
      </p:sp>
      <p:sp>
        <p:nvSpPr>
          <p:cNvPr id="12" name="Text Placeholder 11"/>
          <p:cNvSpPr>
            <a:spLocks noGrp="1"/>
          </p:cNvSpPr>
          <p:nvPr>
            <p:ph type="body" sz="quarter" idx="13"/>
          </p:nvPr>
        </p:nvSpPr>
        <p:spPr>
          <a:xfrm>
            <a:off x="5775325" y="1279437"/>
            <a:ext cx="6111874" cy="5103256"/>
          </a:xfrm>
          <a:prstGeom prst="rect">
            <a:avLst/>
          </a:prstGeom>
        </p:spPr>
        <p:txBody>
          <a:bodyPr/>
          <a:lstStyle>
            <a:lvl1pPr marL="233363" indent="-233363">
              <a:spcAft>
                <a:spcPts val="1200"/>
              </a:spcAft>
              <a:buClr>
                <a:srgbClr val="365EBF"/>
              </a:buClr>
              <a:buFont typeface="Wingdings" panose="05000000000000000000" pitchFamily="2" charset="2"/>
              <a:buChar char="v"/>
              <a:defRPr sz="2400">
                <a:solidFill>
                  <a:schemeClr val="tx2"/>
                </a:solidFill>
              </a:defRPr>
            </a:lvl1pPr>
            <a:lvl2pPr marL="742950" indent="-285750">
              <a:spcAft>
                <a:spcPts val="1200"/>
              </a:spcAft>
              <a:buClr>
                <a:schemeClr val="accent1"/>
              </a:buClr>
              <a:buFont typeface="Wingdings" panose="05000000000000000000" pitchFamily="2" charset="2"/>
              <a:buChar char="Ø"/>
              <a:defRPr sz="2000">
                <a:solidFill>
                  <a:schemeClr val="tx2"/>
                </a:solidFill>
              </a:defRPr>
            </a:lvl2pPr>
            <a:lvl3pPr marL="1143000" indent="-228600">
              <a:spcAft>
                <a:spcPts val="1200"/>
              </a:spcAft>
              <a:buClr>
                <a:schemeClr val="accent1"/>
              </a:buClr>
              <a:buFont typeface="Wingdings" panose="05000000000000000000" pitchFamily="2" charset="2"/>
              <a:buChar char="Ø"/>
              <a:defRPr sz="1800">
                <a:solidFill>
                  <a:schemeClr val="tx2"/>
                </a:solidFill>
              </a:defRPr>
            </a:lvl3pPr>
            <a:lvl4pPr marL="1600200" indent="-228600">
              <a:spcAft>
                <a:spcPts val="1200"/>
              </a:spcAft>
              <a:buClr>
                <a:schemeClr val="accent1"/>
              </a:buClr>
              <a:buFont typeface="Wingdings" panose="05000000000000000000" pitchFamily="2" charset="2"/>
              <a:buChar char="Ø"/>
              <a:defRPr sz="1600">
                <a:solidFill>
                  <a:schemeClr val="tx2"/>
                </a:solidFill>
              </a:defRPr>
            </a:lvl4pPr>
            <a:lvl5pPr marL="2057400" indent="-228600">
              <a:spcAft>
                <a:spcPts val="1200"/>
              </a:spcAft>
              <a:buClr>
                <a:schemeClr val="accent1"/>
              </a:buClr>
              <a:buFont typeface="Wingdings" panose="05000000000000000000" pitchFamily="2" charset="2"/>
              <a:buChar char="Ø"/>
              <a:defRPr sz="160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9"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9" name="Picture 8"/>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7780338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2869200"/>
      </p:ext>
    </p:extLst>
  </p:cSld>
  <p:clrMap bg1="lt1" tx1="dk1" bg2="lt2" tx2="dk2" accent1="accent1" accent2="accent2" accent3="accent3" accent4="accent4" accent5="accent5" accent6="accent6" hlink="hlink" folHlink="folHlink"/>
  <p:sldLayoutIdLst>
    <p:sldLayoutId id="2147483811" r:id="rId1"/>
    <p:sldLayoutId id="2147483802" r:id="rId2"/>
    <p:sldLayoutId id="2147483797" r:id="rId3"/>
    <p:sldLayoutId id="2147483795" r:id="rId4"/>
    <p:sldLayoutId id="2147483796" r:id="rId5"/>
    <p:sldLayoutId id="2147483798" r:id="rId6"/>
    <p:sldLayoutId id="2147483799" r:id="rId7"/>
    <p:sldLayoutId id="2147483800" r:id="rId8"/>
    <p:sldLayoutId id="2147483801" r:id="rId9"/>
    <p:sldLayoutId id="2147483803" r:id="rId10"/>
    <p:sldLayoutId id="2147483816"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microsoft.com/office/2007/relationships/diagramDrawing" Target="../diagrams/drawing8.xml"/><Relationship Id="rId13" Type="http://schemas.microsoft.com/office/2007/relationships/diagramDrawing" Target="../diagrams/drawing9.xml"/><Relationship Id="rId3" Type="http://schemas.openxmlformats.org/officeDocument/2006/relationships/image" Target="../media/image9.png"/><Relationship Id="rId7" Type="http://schemas.openxmlformats.org/officeDocument/2006/relationships/diagramColors" Target="../diagrams/colors8.xml"/><Relationship Id="rId12" Type="http://schemas.openxmlformats.org/officeDocument/2006/relationships/diagramColors" Target="../diagrams/colors9.xml"/><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diagramQuickStyle" Target="../diagrams/quickStyle8.xml"/><Relationship Id="rId11" Type="http://schemas.openxmlformats.org/officeDocument/2006/relationships/diagramQuickStyle" Target="../diagrams/quickStyle9.xml"/><Relationship Id="rId5" Type="http://schemas.openxmlformats.org/officeDocument/2006/relationships/diagramLayout" Target="../diagrams/layout8.xml"/><Relationship Id="rId10" Type="http://schemas.openxmlformats.org/officeDocument/2006/relationships/diagramLayout" Target="../diagrams/layout9.xml"/><Relationship Id="rId4" Type="http://schemas.openxmlformats.org/officeDocument/2006/relationships/diagramData" Target="../diagrams/data8.xml"/><Relationship Id="rId9" Type="http://schemas.openxmlformats.org/officeDocument/2006/relationships/diagramData" Target="../diagrams/data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8" Type="http://schemas.openxmlformats.org/officeDocument/2006/relationships/diagramData" Target="../diagrams/data11.xml"/><Relationship Id="rId13" Type="http://schemas.openxmlformats.org/officeDocument/2006/relationships/image" Target="../media/image10.png"/><Relationship Id="rId3" Type="http://schemas.openxmlformats.org/officeDocument/2006/relationships/diagramData" Target="../diagrams/data10.xml"/><Relationship Id="rId7" Type="http://schemas.microsoft.com/office/2007/relationships/diagramDrawing" Target="../diagrams/drawing10.xml"/><Relationship Id="rId12" Type="http://schemas.microsoft.com/office/2007/relationships/diagramDrawing" Target="../diagrams/drawing11.xm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diagramColors" Target="../diagrams/colors10.xml"/><Relationship Id="rId11" Type="http://schemas.openxmlformats.org/officeDocument/2006/relationships/diagramColors" Target="../diagrams/colors11.xml"/><Relationship Id="rId5" Type="http://schemas.openxmlformats.org/officeDocument/2006/relationships/diagramQuickStyle" Target="../diagrams/quickStyle10.xml"/><Relationship Id="rId10" Type="http://schemas.openxmlformats.org/officeDocument/2006/relationships/diagramQuickStyle" Target="../diagrams/quickStyle11.xml"/><Relationship Id="rId4" Type="http://schemas.openxmlformats.org/officeDocument/2006/relationships/diagramLayout" Target="../diagrams/layout10.xml"/><Relationship Id="rId9" Type="http://schemas.openxmlformats.org/officeDocument/2006/relationships/diagramLayout" Target="../diagrams/layout11.xml"/></Relationships>
</file>

<file path=ppt/slides/_rels/slide13.xml.rels><?xml version="1.0" encoding="UTF-8" standalone="yes"?>
<Relationships xmlns="http://schemas.openxmlformats.org/package/2006/relationships"><Relationship Id="rId8" Type="http://schemas.openxmlformats.org/officeDocument/2006/relationships/diagramData" Target="../diagrams/data13.xml"/><Relationship Id="rId13" Type="http://schemas.openxmlformats.org/officeDocument/2006/relationships/image" Target="../media/image11.png"/><Relationship Id="rId3" Type="http://schemas.openxmlformats.org/officeDocument/2006/relationships/diagramData" Target="../diagrams/data12.xml"/><Relationship Id="rId7" Type="http://schemas.microsoft.com/office/2007/relationships/diagramDrawing" Target="../diagrams/drawing12.xml"/><Relationship Id="rId12" Type="http://schemas.microsoft.com/office/2007/relationships/diagramDrawing" Target="../diagrams/drawing13.xml"/><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diagramColors" Target="../diagrams/colors12.xml"/><Relationship Id="rId11" Type="http://schemas.openxmlformats.org/officeDocument/2006/relationships/diagramColors" Target="../diagrams/colors13.xml"/><Relationship Id="rId5" Type="http://schemas.openxmlformats.org/officeDocument/2006/relationships/diagramQuickStyle" Target="../diagrams/quickStyle12.xml"/><Relationship Id="rId10" Type="http://schemas.openxmlformats.org/officeDocument/2006/relationships/diagramQuickStyle" Target="../diagrams/quickStyle13.xml"/><Relationship Id="rId4" Type="http://schemas.openxmlformats.org/officeDocument/2006/relationships/diagramLayout" Target="../diagrams/layout12.xml"/><Relationship Id="rId9" Type="http://schemas.openxmlformats.org/officeDocument/2006/relationships/diagramLayout" Target="../diagrams/layout13.xml"/></Relationships>
</file>

<file path=ppt/slides/_rels/slide14.xml.rels><?xml version="1.0" encoding="UTF-8" standalone="yes"?>
<Relationships xmlns="http://schemas.openxmlformats.org/package/2006/relationships"><Relationship Id="rId8" Type="http://schemas.openxmlformats.org/officeDocument/2006/relationships/diagramData" Target="../diagrams/data15.xml"/><Relationship Id="rId13" Type="http://schemas.openxmlformats.org/officeDocument/2006/relationships/image" Target="../media/image12.png"/><Relationship Id="rId3" Type="http://schemas.openxmlformats.org/officeDocument/2006/relationships/diagramData" Target="../diagrams/data14.xml"/><Relationship Id="rId7" Type="http://schemas.microsoft.com/office/2007/relationships/diagramDrawing" Target="../diagrams/drawing14.xml"/><Relationship Id="rId12" Type="http://schemas.microsoft.com/office/2007/relationships/diagramDrawing" Target="../diagrams/drawing15.xml"/><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diagramColors" Target="../diagrams/colors14.xml"/><Relationship Id="rId11" Type="http://schemas.openxmlformats.org/officeDocument/2006/relationships/diagramColors" Target="../diagrams/colors15.xml"/><Relationship Id="rId5" Type="http://schemas.openxmlformats.org/officeDocument/2006/relationships/diagramQuickStyle" Target="../diagrams/quickStyle14.xml"/><Relationship Id="rId10" Type="http://schemas.openxmlformats.org/officeDocument/2006/relationships/diagramQuickStyle" Target="../diagrams/quickStyle15.xml"/><Relationship Id="rId4" Type="http://schemas.openxmlformats.org/officeDocument/2006/relationships/diagramLayout" Target="../diagrams/layout14.xml"/><Relationship Id="rId9" Type="http://schemas.openxmlformats.org/officeDocument/2006/relationships/diagramLayout" Target="../diagrams/layout15.xml"/></Relationships>
</file>

<file path=ppt/slides/_rels/slide15.xml.rels><?xml version="1.0" encoding="UTF-8" standalone="yes"?>
<Relationships xmlns="http://schemas.openxmlformats.org/package/2006/relationships"><Relationship Id="rId8" Type="http://schemas.openxmlformats.org/officeDocument/2006/relationships/diagramData" Target="../diagrams/data17.xml"/><Relationship Id="rId13" Type="http://schemas.openxmlformats.org/officeDocument/2006/relationships/image" Target="../media/image13.png"/><Relationship Id="rId3" Type="http://schemas.openxmlformats.org/officeDocument/2006/relationships/diagramData" Target="../diagrams/data16.xml"/><Relationship Id="rId7" Type="http://schemas.microsoft.com/office/2007/relationships/diagramDrawing" Target="../diagrams/drawing16.xml"/><Relationship Id="rId12" Type="http://schemas.microsoft.com/office/2007/relationships/diagramDrawing" Target="../diagrams/drawing17.xml"/><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diagramColors" Target="../diagrams/colors16.xml"/><Relationship Id="rId11" Type="http://schemas.openxmlformats.org/officeDocument/2006/relationships/diagramColors" Target="../diagrams/colors17.xml"/><Relationship Id="rId5" Type="http://schemas.openxmlformats.org/officeDocument/2006/relationships/diagramQuickStyle" Target="../diagrams/quickStyle16.xml"/><Relationship Id="rId10" Type="http://schemas.openxmlformats.org/officeDocument/2006/relationships/diagramQuickStyle" Target="../diagrams/quickStyle17.xml"/><Relationship Id="rId4" Type="http://schemas.openxmlformats.org/officeDocument/2006/relationships/diagramLayout" Target="../diagrams/layout16.xml"/><Relationship Id="rId9" Type="http://schemas.openxmlformats.org/officeDocument/2006/relationships/diagramLayout" Target="../diagrams/layout1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8" Type="http://schemas.microsoft.com/office/2007/relationships/diagramDrawing" Target="../diagrams/drawing18.xml"/><Relationship Id="rId13" Type="http://schemas.microsoft.com/office/2007/relationships/diagramDrawing" Target="../diagrams/drawing19.xml"/><Relationship Id="rId3" Type="http://schemas.openxmlformats.org/officeDocument/2006/relationships/image" Target="../media/image14.png"/><Relationship Id="rId7" Type="http://schemas.openxmlformats.org/officeDocument/2006/relationships/diagramColors" Target="../diagrams/colors18.xml"/><Relationship Id="rId12" Type="http://schemas.openxmlformats.org/officeDocument/2006/relationships/diagramColors" Target="../diagrams/colors19.xml"/><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diagramQuickStyle" Target="../diagrams/quickStyle18.xml"/><Relationship Id="rId11" Type="http://schemas.openxmlformats.org/officeDocument/2006/relationships/diagramQuickStyle" Target="../diagrams/quickStyle19.xml"/><Relationship Id="rId5" Type="http://schemas.openxmlformats.org/officeDocument/2006/relationships/diagramLayout" Target="../diagrams/layout18.xml"/><Relationship Id="rId10" Type="http://schemas.openxmlformats.org/officeDocument/2006/relationships/diagramLayout" Target="../diagrams/layout19.xml"/><Relationship Id="rId4" Type="http://schemas.openxmlformats.org/officeDocument/2006/relationships/diagramData" Target="../diagrams/data18.xml"/><Relationship Id="rId9" Type="http://schemas.openxmlformats.org/officeDocument/2006/relationships/diagramData" Target="../diagrams/data19.xml"/></Relationships>
</file>

<file path=ppt/slides/_rels/slide18.xml.rels><?xml version="1.0" encoding="UTF-8" standalone="yes"?>
<Relationships xmlns="http://schemas.openxmlformats.org/package/2006/relationships"><Relationship Id="rId8" Type="http://schemas.microsoft.com/office/2007/relationships/diagramDrawing" Target="../diagrams/drawing20.xml"/><Relationship Id="rId13" Type="http://schemas.microsoft.com/office/2007/relationships/diagramDrawing" Target="../diagrams/drawing21.xml"/><Relationship Id="rId3" Type="http://schemas.openxmlformats.org/officeDocument/2006/relationships/image" Target="../media/image15.png"/><Relationship Id="rId7" Type="http://schemas.openxmlformats.org/officeDocument/2006/relationships/diagramColors" Target="../diagrams/colors20.xml"/><Relationship Id="rId12" Type="http://schemas.openxmlformats.org/officeDocument/2006/relationships/diagramColors" Target="../diagrams/colors21.xml"/><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diagramQuickStyle" Target="../diagrams/quickStyle20.xml"/><Relationship Id="rId11" Type="http://schemas.openxmlformats.org/officeDocument/2006/relationships/diagramQuickStyle" Target="../diagrams/quickStyle21.xml"/><Relationship Id="rId5" Type="http://schemas.openxmlformats.org/officeDocument/2006/relationships/diagramLayout" Target="../diagrams/layout20.xml"/><Relationship Id="rId10" Type="http://schemas.openxmlformats.org/officeDocument/2006/relationships/diagramLayout" Target="../diagrams/layout21.xml"/><Relationship Id="rId4" Type="http://schemas.openxmlformats.org/officeDocument/2006/relationships/diagramData" Target="../diagrams/data20.xml"/><Relationship Id="rId9" Type="http://schemas.openxmlformats.org/officeDocument/2006/relationships/diagramData" Target="../diagrams/data21.xml"/></Relationships>
</file>

<file path=ppt/slides/_rels/slide19.xml.rels><?xml version="1.0" encoding="UTF-8" standalone="yes"?>
<Relationships xmlns="http://schemas.openxmlformats.org/package/2006/relationships"><Relationship Id="rId8" Type="http://schemas.openxmlformats.org/officeDocument/2006/relationships/diagramData" Target="../diagrams/data23.xml"/><Relationship Id="rId13" Type="http://schemas.openxmlformats.org/officeDocument/2006/relationships/image" Target="../media/image16.png"/><Relationship Id="rId3" Type="http://schemas.openxmlformats.org/officeDocument/2006/relationships/diagramData" Target="../diagrams/data22.xml"/><Relationship Id="rId7" Type="http://schemas.microsoft.com/office/2007/relationships/diagramDrawing" Target="../diagrams/drawing22.xml"/><Relationship Id="rId12" Type="http://schemas.microsoft.com/office/2007/relationships/diagramDrawing" Target="../diagrams/drawing23.xml"/><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diagramColors" Target="../diagrams/colors22.xml"/><Relationship Id="rId11" Type="http://schemas.openxmlformats.org/officeDocument/2006/relationships/diagramColors" Target="../diagrams/colors23.xml"/><Relationship Id="rId5" Type="http://schemas.openxmlformats.org/officeDocument/2006/relationships/diagramQuickStyle" Target="../diagrams/quickStyle22.xml"/><Relationship Id="rId10" Type="http://schemas.openxmlformats.org/officeDocument/2006/relationships/diagramQuickStyle" Target="../diagrams/quickStyle23.xml"/><Relationship Id="rId4" Type="http://schemas.openxmlformats.org/officeDocument/2006/relationships/diagramLayout" Target="../diagrams/layout22.xml"/><Relationship Id="rId9" Type="http://schemas.openxmlformats.org/officeDocument/2006/relationships/diagramLayout" Target="../diagrams/layout2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diagramData" Target="../diagrams/data25.xml"/><Relationship Id="rId13" Type="http://schemas.openxmlformats.org/officeDocument/2006/relationships/image" Target="../media/image17.png"/><Relationship Id="rId3" Type="http://schemas.openxmlformats.org/officeDocument/2006/relationships/diagramData" Target="../diagrams/data24.xml"/><Relationship Id="rId7" Type="http://schemas.microsoft.com/office/2007/relationships/diagramDrawing" Target="../diagrams/drawing24.xml"/><Relationship Id="rId12" Type="http://schemas.microsoft.com/office/2007/relationships/diagramDrawing" Target="../diagrams/drawing25.xml"/><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diagramColors" Target="../diagrams/colors24.xml"/><Relationship Id="rId11" Type="http://schemas.openxmlformats.org/officeDocument/2006/relationships/diagramColors" Target="../diagrams/colors25.xml"/><Relationship Id="rId5" Type="http://schemas.openxmlformats.org/officeDocument/2006/relationships/diagramQuickStyle" Target="../diagrams/quickStyle24.xml"/><Relationship Id="rId10" Type="http://schemas.openxmlformats.org/officeDocument/2006/relationships/diagramQuickStyle" Target="../diagrams/quickStyle25.xml"/><Relationship Id="rId4" Type="http://schemas.openxmlformats.org/officeDocument/2006/relationships/diagramLayout" Target="../diagrams/layout24.xml"/><Relationship Id="rId9" Type="http://schemas.openxmlformats.org/officeDocument/2006/relationships/diagramLayout" Target="../diagrams/layout25.xml"/></Relationships>
</file>

<file path=ppt/slides/_rels/slide21.xml.rels><?xml version="1.0" encoding="UTF-8" standalone="yes"?>
<Relationships xmlns="http://schemas.openxmlformats.org/package/2006/relationships"><Relationship Id="rId8" Type="http://schemas.microsoft.com/office/2007/relationships/diagramDrawing" Target="../diagrams/drawing26.xml"/><Relationship Id="rId13" Type="http://schemas.microsoft.com/office/2007/relationships/diagramDrawing" Target="../diagrams/drawing27.xml"/><Relationship Id="rId3" Type="http://schemas.openxmlformats.org/officeDocument/2006/relationships/image" Target="../media/image18.png"/><Relationship Id="rId7" Type="http://schemas.openxmlformats.org/officeDocument/2006/relationships/diagramColors" Target="../diagrams/colors26.xml"/><Relationship Id="rId12" Type="http://schemas.openxmlformats.org/officeDocument/2006/relationships/diagramColors" Target="../diagrams/colors27.xml"/><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diagramQuickStyle" Target="../diagrams/quickStyle26.xml"/><Relationship Id="rId11" Type="http://schemas.openxmlformats.org/officeDocument/2006/relationships/diagramQuickStyle" Target="../diagrams/quickStyle27.xml"/><Relationship Id="rId5" Type="http://schemas.openxmlformats.org/officeDocument/2006/relationships/diagramLayout" Target="../diagrams/layout26.xml"/><Relationship Id="rId10" Type="http://schemas.openxmlformats.org/officeDocument/2006/relationships/diagramLayout" Target="../diagrams/layout27.xml"/><Relationship Id="rId4" Type="http://schemas.openxmlformats.org/officeDocument/2006/relationships/diagramData" Target="../diagrams/data26.xml"/><Relationship Id="rId9" Type="http://schemas.openxmlformats.org/officeDocument/2006/relationships/diagramData" Target="../diagrams/data27.xml"/></Relationships>
</file>

<file path=ppt/slides/_rels/slide22.xml.rels><?xml version="1.0" encoding="UTF-8" standalone="yes"?>
<Relationships xmlns="http://schemas.openxmlformats.org/package/2006/relationships"><Relationship Id="rId8" Type="http://schemas.microsoft.com/office/2007/relationships/diagramDrawing" Target="../diagrams/drawing28.xml"/><Relationship Id="rId13" Type="http://schemas.microsoft.com/office/2007/relationships/diagramDrawing" Target="../diagrams/drawing29.xml"/><Relationship Id="rId3" Type="http://schemas.openxmlformats.org/officeDocument/2006/relationships/image" Target="../media/image19.png"/><Relationship Id="rId7" Type="http://schemas.openxmlformats.org/officeDocument/2006/relationships/diagramColors" Target="../diagrams/colors28.xml"/><Relationship Id="rId12" Type="http://schemas.openxmlformats.org/officeDocument/2006/relationships/diagramColors" Target="../diagrams/colors29.xml"/><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diagramQuickStyle" Target="../diagrams/quickStyle28.xml"/><Relationship Id="rId11" Type="http://schemas.openxmlformats.org/officeDocument/2006/relationships/diagramQuickStyle" Target="../diagrams/quickStyle29.xml"/><Relationship Id="rId5" Type="http://schemas.openxmlformats.org/officeDocument/2006/relationships/diagramLayout" Target="../diagrams/layout28.xml"/><Relationship Id="rId10" Type="http://schemas.openxmlformats.org/officeDocument/2006/relationships/diagramLayout" Target="../diagrams/layout29.xml"/><Relationship Id="rId4" Type="http://schemas.openxmlformats.org/officeDocument/2006/relationships/diagramData" Target="../diagrams/data28.xml"/><Relationship Id="rId9" Type="http://schemas.openxmlformats.org/officeDocument/2006/relationships/diagramData" Target="../diagrams/data29.xml"/></Relationships>
</file>

<file path=ppt/slides/_rels/slide23.xml.rels><?xml version="1.0" encoding="UTF-8" standalone="yes"?>
<Relationships xmlns="http://schemas.openxmlformats.org/package/2006/relationships"><Relationship Id="rId8" Type="http://schemas.microsoft.com/office/2007/relationships/diagramDrawing" Target="../diagrams/drawing30.xml"/><Relationship Id="rId13" Type="http://schemas.microsoft.com/office/2007/relationships/diagramDrawing" Target="../diagrams/drawing31.xml"/><Relationship Id="rId18" Type="http://schemas.microsoft.com/office/2007/relationships/diagramDrawing" Target="../diagrams/drawing32.xml"/><Relationship Id="rId3" Type="http://schemas.openxmlformats.org/officeDocument/2006/relationships/image" Target="../media/image20.png"/><Relationship Id="rId7" Type="http://schemas.openxmlformats.org/officeDocument/2006/relationships/diagramColors" Target="../diagrams/colors30.xml"/><Relationship Id="rId12" Type="http://schemas.openxmlformats.org/officeDocument/2006/relationships/diagramColors" Target="../diagrams/colors31.xml"/><Relationship Id="rId17" Type="http://schemas.openxmlformats.org/officeDocument/2006/relationships/diagramColors" Target="../diagrams/colors32.xml"/><Relationship Id="rId2" Type="http://schemas.openxmlformats.org/officeDocument/2006/relationships/notesSlide" Target="../notesSlides/notesSlide21.xml"/><Relationship Id="rId16" Type="http://schemas.openxmlformats.org/officeDocument/2006/relationships/diagramQuickStyle" Target="../diagrams/quickStyle32.xml"/><Relationship Id="rId1" Type="http://schemas.openxmlformats.org/officeDocument/2006/relationships/slideLayout" Target="../slideLayouts/slideLayout7.xml"/><Relationship Id="rId6" Type="http://schemas.openxmlformats.org/officeDocument/2006/relationships/diagramQuickStyle" Target="../diagrams/quickStyle30.xml"/><Relationship Id="rId11" Type="http://schemas.openxmlformats.org/officeDocument/2006/relationships/diagramQuickStyle" Target="../diagrams/quickStyle31.xml"/><Relationship Id="rId5" Type="http://schemas.openxmlformats.org/officeDocument/2006/relationships/diagramLayout" Target="../diagrams/layout30.xml"/><Relationship Id="rId15" Type="http://schemas.openxmlformats.org/officeDocument/2006/relationships/diagramLayout" Target="../diagrams/layout32.xml"/><Relationship Id="rId10" Type="http://schemas.openxmlformats.org/officeDocument/2006/relationships/diagramLayout" Target="../diagrams/layout31.xml"/><Relationship Id="rId4" Type="http://schemas.openxmlformats.org/officeDocument/2006/relationships/diagramData" Target="../diagrams/data30.xml"/><Relationship Id="rId9" Type="http://schemas.openxmlformats.org/officeDocument/2006/relationships/diagramData" Target="../diagrams/data31.xml"/><Relationship Id="rId14" Type="http://schemas.openxmlformats.org/officeDocument/2006/relationships/diagramData" Target="../diagrams/data32.xml"/></Relationships>
</file>

<file path=ppt/slides/_rels/slide24.xml.rels><?xml version="1.0" encoding="UTF-8" standalone="yes"?>
<Relationships xmlns="http://schemas.openxmlformats.org/package/2006/relationships"><Relationship Id="rId8" Type="http://schemas.microsoft.com/office/2007/relationships/diagramDrawing" Target="../diagrams/drawing33.xml"/><Relationship Id="rId13" Type="http://schemas.microsoft.com/office/2007/relationships/diagramDrawing" Target="../diagrams/drawing34.xml"/><Relationship Id="rId3" Type="http://schemas.openxmlformats.org/officeDocument/2006/relationships/image" Target="../media/image21.png"/><Relationship Id="rId7" Type="http://schemas.openxmlformats.org/officeDocument/2006/relationships/diagramColors" Target="../diagrams/colors33.xml"/><Relationship Id="rId12" Type="http://schemas.openxmlformats.org/officeDocument/2006/relationships/diagramColors" Target="../diagrams/colors34.xml"/><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diagramQuickStyle" Target="../diagrams/quickStyle33.xml"/><Relationship Id="rId11" Type="http://schemas.openxmlformats.org/officeDocument/2006/relationships/diagramQuickStyle" Target="../diagrams/quickStyle34.xml"/><Relationship Id="rId5" Type="http://schemas.openxmlformats.org/officeDocument/2006/relationships/diagramLayout" Target="../diagrams/layout33.xml"/><Relationship Id="rId10" Type="http://schemas.openxmlformats.org/officeDocument/2006/relationships/diagramLayout" Target="../diagrams/layout34.xml"/><Relationship Id="rId4" Type="http://schemas.openxmlformats.org/officeDocument/2006/relationships/diagramData" Target="../diagrams/data33.xml"/><Relationship Id="rId9" Type="http://schemas.openxmlformats.org/officeDocument/2006/relationships/diagramData" Target="../diagrams/data3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8.xml.rels><?xml version="1.0" encoding="UTF-8" standalone="yes"?>
<Relationships xmlns="http://schemas.openxmlformats.org/package/2006/relationships"><Relationship Id="rId8" Type="http://schemas.openxmlformats.org/officeDocument/2006/relationships/diagramData" Target="../diagrams/data5.xml"/><Relationship Id="rId3" Type="http://schemas.openxmlformats.org/officeDocument/2006/relationships/diagramData" Target="../diagrams/data4.xml"/><Relationship Id="rId7" Type="http://schemas.microsoft.com/office/2007/relationships/diagramDrawing" Target="../diagrams/drawing4.xml"/><Relationship Id="rId12" Type="http://schemas.microsoft.com/office/2007/relationships/diagramDrawing" Target="../diagrams/drawing5.xml"/><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diagramColors" Target="../diagrams/colors4.xml"/><Relationship Id="rId11" Type="http://schemas.openxmlformats.org/officeDocument/2006/relationships/diagramColors" Target="../diagrams/colors5.xml"/><Relationship Id="rId5" Type="http://schemas.openxmlformats.org/officeDocument/2006/relationships/diagramQuickStyle" Target="../diagrams/quickStyle4.xml"/><Relationship Id="rId10" Type="http://schemas.openxmlformats.org/officeDocument/2006/relationships/diagramQuickStyle" Target="../diagrams/quickStyle5.xml"/><Relationship Id="rId4" Type="http://schemas.openxmlformats.org/officeDocument/2006/relationships/diagramLayout" Target="../diagrams/layout4.xml"/><Relationship Id="rId9" Type="http://schemas.openxmlformats.org/officeDocument/2006/relationships/diagramLayout" Target="../diagrams/layout5.xml"/></Relationships>
</file>

<file path=ppt/slides/_rels/slide9.xml.rels><?xml version="1.0" encoding="UTF-8" standalone="yes"?>
<Relationships xmlns="http://schemas.openxmlformats.org/package/2006/relationships"><Relationship Id="rId8" Type="http://schemas.microsoft.com/office/2007/relationships/diagramDrawing" Target="../diagrams/drawing6.xml"/><Relationship Id="rId13" Type="http://schemas.microsoft.com/office/2007/relationships/diagramDrawing" Target="../diagrams/drawing7.xml"/><Relationship Id="rId3" Type="http://schemas.openxmlformats.org/officeDocument/2006/relationships/image" Target="../media/image8.png"/><Relationship Id="rId7" Type="http://schemas.openxmlformats.org/officeDocument/2006/relationships/diagramColors" Target="../diagrams/colors6.xml"/><Relationship Id="rId12" Type="http://schemas.openxmlformats.org/officeDocument/2006/relationships/diagramColors" Target="../diagrams/colors7.xm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diagramQuickStyle" Target="../diagrams/quickStyle6.xml"/><Relationship Id="rId11" Type="http://schemas.openxmlformats.org/officeDocument/2006/relationships/diagramQuickStyle" Target="../diagrams/quickStyle7.xml"/><Relationship Id="rId5" Type="http://schemas.openxmlformats.org/officeDocument/2006/relationships/diagramLayout" Target="../diagrams/layout6.xml"/><Relationship Id="rId10" Type="http://schemas.openxmlformats.org/officeDocument/2006/relationships/diagramLayout" Target="../diagrams/layout7.xml"/><Relationship Id="rId4" Type="http://schemas.openxmlformats.org/officeDocument/2006/relationships/diagramData" Target="../diagrams/data6.xml"/><Relationship Id="rId9" Type="http://schemas.openxmlformats.org/officeDocument/2006/relationships/diagramData" Target="../diagrams/data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3212" y="1752600"/>
            <a:ext cx="8610600" cy="3349542"/>
          </a:xfrm>
        </p:spPr>
        <p:txBody>
          <a:bodyPr/>
          <a:lstStyle/>
          <a:p>
            <a:r>
              <a:rPr lang="en-US" sz="5400" dirty="0"/>
              <a:t>Learning about Taxes with Intuit ProFile </a:t>
            </a:r>
            <a:br>
              <a:rPr lang="en-US" sz="5400" dirty="0"/>
            </a:br>
            <a:endParaRPr lang="en-CA" sz="5400" dirty="0"/>
          </a:p>
        </p:txBody>
      </p:sp>
    </p:spTree>
    <p:extLst>
      <p:ext uri="{BB962C8B-B14F-4D97-AF65-F5344CB8AC3E}">
        <p14:creationId xmlns:p14="http://schemas.microsoft.com/office/powerpoint/2010/main" val="12764729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743BA17-5E65-6147-A112-6502E969551B}"/>
              </a:ext>
            </a:extLst>
          </p:cNvPr>
          <p:cNvPicPr>
            <a:picLocks noChangeAspect="1"/>
          </p:cNvPicPr>
          <p:nvPr/>
        </p:nvPicPr>
        <p:blipFill>
          <a:blip r:embed="rId3"/>
          <a:stretch>
            <a:fillRect/>
          </a:stretch>
        </p:blipFill>
        <p:spPr>
          <a:xfrm>
            <a:off x="5408612" y="304800"/>
            <a:ext cx="5760000" cy="5909360"/>
          </a:xfrm>
          <a:prstGeom prst="rect">
            <a:avLst/>
          </a:prstGeom>
        </p:spPr>
      </p:pic>
      <p:graphicFrame>
        <p:nvGraphicFramePr>
          <p:cNvPr id="7" name="Content Placeholder 2"/>
          <p:cNvGraphicFramePr>
            <a:graphicFrameLocks/>
          </p:cNvGraphicFramePr>
          <p:nvPr>
            <p:extLst>
              <p:ext uri="{D42A27DB-BD31-4B8C-83A1-F6EECF244321}">
                <p14:modId xmlns:p14="http://schemas.microsoft.com/office/powerpoint/2010/main" val="947632474"/>
              </p:ext>
            </p:extLst>
          </p:nvPr>
        </p:nvGraphicFramePr>
        <p:xfrm>
          <a:off x="455612" y="1447800"/>
          <a:ext cx="3735389" cy="32004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8" name="Title 1"/>
          <p:cNvSpPr txBox="1">
            <a:spLocks/>
          </p:cNvSpPr>
          <p:nvPr/>
        </p:nvSpPr>
        <p:spPr>
          <a:xfrm>
            <a:off x="-153988" y="6151662"/>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setting it up</a:t>
            </a:r>
          </a:p>
        </p:txBody>
      </p:sp>
      <p:graphicFrame>
        <p:nvGraphicFramePr>
          <p:cNvPr id="10" name="Content Placeholder 2"/>
          <p:cNvGraphicFramePr>
            <a:graphicFrameLocks/>
          </p:cNvGraphicFramePr>
          <p:nvPr>
            <p:extLst>
              <p:ext uri="{D42A27DB-BD31-4B8C-83A1-F6EECF244321}">
                <p14:modId xmlns:p14="http://schemas.microsoft.com/office/powerpoint/2010/main" val="3802477320"/>
              </p:ext>
            </p:extLst>
          </p:nvPr>
        </p:nvGraphicFramePr>
        <p:xfrm>
          <a:off x="3884612" y="3429000"/>
          <a:ext cx="1868488" cy="146050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2198082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03212" y="3581400"/>
            <a:ext cx="7161212" cy="992187"/>
          </a:xfrm>
          <a:prstGeom prst="rect">
            <a:avLst/>
          </a:prstGeom>
        </p:spPr>
        <p:txBody>
          <a:bodyPr/>
          <a:lstStyle/>
          <a:p>
            <a:pPr algn="l"/>
            <a:r>
              <a:rPr lang="en-CA" dirty="0"/>
              <a:t>additional settings</a:t>
            </a:r>
          </a:p>
        </p:txBody>
      </p:sp>
    </p:spTree>
    <p:extLst>
      <p:ext uri="{BB962C8B-B14F-4D97-AF65-F5344CB8AC3E}">
        <p14:creationId xmlns:p14="http://schemas.microsoft.com/office/powerpoint/2010/main" val="10393881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 8"/>
          <p:cNvGraphicFramePr/>
          <p:nvPr>
            <p:extLst>
              <p:ext uri="{D42A27DB-BD31-4B8C-83A1-F6EECF244321}">
                <p14:modId xmlns:p14="http://schemas.microsoft.com/office/powerpoint/2010/main" val="748569237"/>
              </p:ext>
            </p:extLst>
          </p:nvPr>
        </p:nvGraphicFramePr>
        <p:xfrm>
          <a:off x="8075612" y="533400"/>
          <a:ext cx="2743200" cy="5791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 name="Content Placeholder 2">
            <a:extLst>
              <a:ext uri="{FF2B5EF4-FFF2-40B4-BE49-F238E27FC236}">
                <a16:creationId xmlns:a16="http://schemas.microsoft.com/office/drawing/2014/main" id="{0FA22960-4DE5-4FD4-9FBA-6BF7D35EB724}"/>
              </a:ext>
            </a:extLst>
          </p:cNvPr>
          <p:cNvGraphicFramePr>
            <a:graphicFrameLocks/>
          </p:cNvGraphicFramePr>
          <p:nvPr>
            <p:extLst>
              <p:ext uri="{D42A27DB-BD31-4B8C-83A1-F6EECF244321}">
                <p14:modId xmlns:p14="http://schemas.microsoft.com/office/powerpoint/2010/main" val="816245589"/>
              </p:ext>
            </p:extLst>
          </p:nvPr>
        </p:nvGraphicFramePr>
        <p:xfrm>
          <a:off x="303212" y="5029200"/>
          <a:ext cx="1765300" cy="139857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5" name="Picture 4">
            <a:extLst>
              <a:ext uri="{FF2B5EF4-FFF2-40B4-BE49-F238E27FC236}">
                <a16:creationId xmlns:a16="http://schemas.microsoft.com/office/drawing/2014/main" id="{C819D427-9C11-DF4F-BD12-56FB38540517}"/>
              </a:ext>
            </a:extLst>
          </p:cNvPr>
          <p:cNvPicPr>
            <a:picLocks noChangeAspect="1"/>
          </p:cNvPicPr>
          <p:nvPr/>
        </p:nvPicPr>
        <p:blipFill>
          <a:blip r:embed="rId13"/>
          <a:stretch>
            <a:fillRect/>
          </a:stretch>
        </p:blipFill>
        <p:spPr>
          <a:xfrm>
            <a:off x="1979612" y="533400"/>
            <a:ext cx="5400000" cy="5529547"/>
          </a:xfrm>
          <a:prstGeom prst="rect">
            <a:avLst/>
          </a:prstGeom>
        </p:spPr>
      </p:pic>
    </p:spTree>
    <p:extLst>
      <p:ext uri="{BB962C8B-B14F-4D97-AF65-F5344CB8AC3E}">
        <p14:creationId xmlns:p14="http://schemas.microsoft.com/office/powerpoint/2010/main" val="1383307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 8"/>
          <p:cNvGraphicFramePr/>
          <p:nvPr>
            <p:extLst>
              <p:ext uri="{D42A27DB-BD31-4B8C-83A1-F6EECF244321}">
                <p14:modId xmlns:p14="http://schemas.microsoft.com/office/powerpoint/2010/main" val="2698759593"/>
              </p:ext>
            </p:extLst>
          </p:nvPr>
        </p:nvGraphicFramePr>
        <p:xfrm>
          <a:off x="7847012" y="838200"/>
          <a:ext cx="2971800" cy="54809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Content Placeholder 2">
            <a:extLst>
              <a:ext uri="{FF2B5EF4-FFF2-40B4-BE49-F238E27FC236}">
                <a16:creationId xmlns:a16="http://schemas.microsoft.com/office/drawing/2014/main" id="{4092CDFE-B380-47F3-A047-4DE6D59BC381}"/>
              </a:ext>
            </a:extLst>
          </p:cNvPr>
          <p:cNvGraphicFramePr>
            <a:graphicFrameLocks/>
          </p:cNvGraphicFramePr>
          <p:nvPr>
            <p:extLst>
              <p:ext uri="{D42A27DB-BD31-4B8C-83A1-F6EECF244321}">
                <p14:modId xmlns:p14="http://schemas.microsoft.com/office/powerpoint/2010/main" val="2722548010"/>
              </p:ext>
            </p:extLst>
          </p:nvPr>
        </p:nvGraphicFramePr>
        <p:xfrm>
          <a:off x="303212" y="5029200"/>
          <a:ext cx="1765300" cy="139857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7" name="Picture 6">
            <a:extLst>
              <a:ext uri="{FF2B5EF4-FFF2-40B4-BE49-F238E27FC236}">
                <a16:creationId xmlns:a16="http://schemas.microsoft.com/office/drawing/2014/main" id="{206EC64B-5864-EB49-A4BD-CC6FCE45F8CA}"/>
              </a:ext>
            </a:extLst>
          </p:cNvPr>
          <p:cNvPicPr>
            <a:picLocks noChangeAspect="1"/>
          </p:cNvPicPr>
          <p:nvPr/>
        </p:nvPicPr>
        <p:blipFill>
          <a:blip r:embed="rId13"/>
          <a:stretch>
            <a:fillRect/>
          </a:stretch>
        </p:blipFill>
        <p:spPr>
          <a:xfrm>
            <a:off x="2036873" y="688516"/>
            <a:ext cx="5400000" cy="5480967"/>
          </a:xfrm>
          <a:prstGeom prst="rect">
            <a:avLst/>
          </a:prstGeom>
        </p:spPr>
      </p:pic>
    </p:spTree>
    <p:extLst>
      <p:ext uri="{BB962C8B-B14F-4D97-AF65-F5344CB8AC3E}">
        <p14:creationId xmlns:p14="http://schemas.microsoft.com/office/powerpoint/2010/main" val="20175342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 8"/>
          <p:cNvGraphicFramePr/>
          <p:nvPr>
            <p:extLst>
              <p:ext uri="{D42A27DB-BD31-4B8C-83A1-F6EECF244321}">
                <p14:modId xmlns:p14="http://schemas.microsoft.com/office/powerpoint/2010/main" val="197386828"/>
              </p:ext>
            </p:extLst>
          </p:nvPr>
        </p:nvGraphicFramePr>
        <p:xfrm>
          <a:off x="8228012" y="914400"/>
          <a:ext cx="2514600" cy="57149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Content Placeholder 2">
            <a:extLst>
              <a:ext uri="{FF2B5EF4-FFF2-40B4-BE49-F238E27FC236}">
                <a16:creationId xmlns:a16="http://schemas.microsoft.com/office/drawing/2014/main" id="{70A2BBAE-E7DE-419B-86FC-8BAA8028E5E6}"/>
              </a:ext>
            </a:extLst>
          </p:cNvPr>
          <p:cNvGraphicFramePr>
            <a:graphicFrameLocks/>
          </p:cNvGraphicFramePr>
          <p:nvPr>
            <p:extLst>
              <p:ext uri="{D42A27DB-BD31-4B8C-83A1-F6EECF244321}">
                <p14:modId xmlns:p14="http://schemas.microsoft.com/office/powerpoint/2010/main" val="2168417616"/>
              </p:ext>
            </p:extLst>
          </p:nvPr>
        </p:nvGraphicFramePr>
        <p:xfrm>
          <a:off x="303212" y="5029200"/>
          <a:ext cx="1765300" cy="139857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7" name="Picture 6">
            <a:extLst>
              <a:ext uri="{FF2B5EF4-FFF2-40B4-BE49-F238E27FC236}">
                <a16:creationId xmlns:a16="http://schemas.microsoft.com/office/drawing/2014/main" id="{E02EBA28-1A37-9143-9791-6D25C97419AF}"/>
              </a:ext>
            </a:extLst>
          </p:cNvPr>
          <p:cNvPicPr>
            <a:picLocks noChangeAspect="1"/>
          </p:cNvPicPr>
          <p:nvPr/>
        </p:nvPicPr>
        <p:blipFill>
          <a:blip r:embed="rId13"/>
          <a:stretch>
            <a:fillRect/>
          </a:stretch>
        </p:blipFill>
        <p:spPr>
          <a:xfrm>
            <a:off x="1979612" y="641480"/>
            <a:ext cx="5400000" cy="5575039"/>
          </a:xfrm>
          <a:prstGeom prst="rect">
            <a:avLst/>
          </a:prstGeom>
        </p:spPr>
      </p:pic>
    </p:spTree>
    <p:extLst>
      <p:ext uri="{BB962C8B-B14F-4D97-AF65-F5344CB8AC3E}">
        <p14:creationId xmlns:p14="http://schemas.microsoft.com/office/powerpoint/2010/main" val="4634870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 8"/>
          <p:cNvGraphicFramePr/>
          <p:nvPr>
            <p:extLst>
              <p:ext uri="{D42A27DB-BD31-4B8C-83A1-F6EECF244321}">
                <p14:modId xmlns:p14="http://schemas.microsoft.com/office/powerpoint/2010/main" val="990655544"/>
              </p:ext>
            </p:extLst>
          </p:nvPr>
        </p:nvGraphicFramePr>
        <p:xfrm>
          <a:off x="8304212" y="946808"/>
          <a:ext cx="2286000" cy="548097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Content Placeholder 2">
            <a:extLst>
              <a:ext uri="{FF2B5EF4-FFF2-40B4-BE49-F238E27FC236}">
                <a16:creationId xmlns:a16="http://schemas.microsoft.com/office/drawing/2014/main" id="{70A2BBAE-E7DE-419B-86FC-8BAA8028E5E6}"/>
              </a:ext>
            </a:extLst>
          </p:cNvPr>
          <p:cNvGraphicFramePr>
            <a:graphicFrameLocks/>
          </p:cNvGraphicFramePr>
          <p:nvPr>
            <p:extLst>
              <p:ext uri="{D42A27DB-BD31-4B8C-83A1-F6EECF244321}">
                <p14:modId xmlns:p14="http://schemas.microsoft.com/office/powerpoint/2010/main" val="449620503"/>
              </p:ext>
            </p:extLst>
          </p:nvPr>
        </p:nvGraphicFramePr>
        <p:xfrm>
          <a:off x="303212" y="5029200"/>
          <a:ext cx="1765300" cy="139857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7" name="Picture 6">
            <a:extLst>
              <a:ext uri="{FF2B5EF4-FFF2-40B4-BE49-F238E27FC236}">
                <a16:creationId xmlns:a16="http://schemas.microsoft.com/office/drawing/2014/main" id="{2143E062-BE05-2B42-A2D7-BFA868C1C45D}"/>
              </a:ext>
            </a:extLst>
          </p:cNvPr>
          <p:cNvPicPr>
            <a:picLocks noChangeAspect="1"/>
          </p:cNvPicPr>
          <p:nvPr/>
        </p:nvPicPr>
        <p:blipFill>
          <a:blip r:embed="rId13"/>
          <a:stretch>
            <a:fillRect/>
          </a:stretch>
        </p:blipFill>
        <p:spPr>
          <a:xfrm>
            <a:off x="2068512" y="688515"/>
            <a:ext cx="5400000" cy="5480970"/>
          </a:xfrm>
          <a:prstGeom prst="rect">
            <a:avLst/>
          </a:prstGeom>
        </p:spPr>
      </p:pic>
    </p:spTree>
    <p:extLst>
      <p:ext uri="{BB962C8B-B14F-4D97-AF65-F5344CB8AC3E}">
        <p14:creationId xmlns:p14="http://schemas.microsoft.com/office/powerpoint/2010/main" val="17364326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0812" y="3124200"/>
            <a:ext cx="7084753" cy="2437245"/>
          </a:xfrm>
          <a:prstGeom prst="rect">
            <a:avLst/>
          </a:prstGeom>
        </p:spPr>
        <p:txBody>
          <a:bodyPr/>
          <a:lstStyle/>
          <a:p>
            <a:pPr algn="l"/>
            <a:r>
              <a:rPr lang="en-CA" dirty="0"/>
              <a:t>module options</a:t>
            </a:r>
          </a:p>
        </p:txBody>
      </p:sp>
    </p:spTree>
    <p:extLst>
      <p:ext uri="{BB962C8B-B14F-4D97-AF65-F5344CB8AC3E}">
        <p14:creationId xmlns:p14="http://schemas.microsoft.com/office/powerpoint/2010/main" val="15369374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AA3C8B4-6924-F545-94F1-D42059AF554B}"/>
              </a:ext>
            </a:extLst>
          </p:cNvPr>
          <p:cNvPicPr>
            <a:picLocks noChangeAspect="1"/>
          </p:cNvPicPr>
          <p:nvPr/>
        </p:nvPicPr>
        <p:blipFill>
          <a:blip r:embed="rId3"/>
          <a:stretch>
            <a:fillRect/>
          </a:stretch>
        </p:blipFill>
        <p:spPr>
          <a:xfrm>
            <a:off x="989012" y="1045994"/>
            <a:ext cx="7187217" cy="5189706"/>
          </a:xfrm>
          <a:prstGeom prst="rect">
            <a:avLst/>
          </a:prstGeom>
        </p:spPr>
      </p:pic>
      <p:graphicFrame>
        <p:nvGraphicFramePr>
          <p:cNvPr id="9" name="Diagram 8"/>
          <p:cNvGraphicFramePr/>
          <p:nvPr>
            <p:extLst>
              <p:ext uri="{D42A27DB-BD31-4B8C-83A1-F6EECF244321}">
                <p14:modId xmlns:p14="http://schemas.microsoft.com/office/powerpoint/2010/main" val="3463984612"/>
              </p:ext>
            </p:extLst>
          </p:nvPr>
        </p:nvGraphicFramePr>
        <p:xfrm>
          <a:off x="8761412" y="1219200"/>
          <a:ext cx="2286000" cy="50292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6" name="Content Placeholder 2">
            <a:extLst>
              <a:ext uri="{FF2B5EF4-FFF2-40B4-BE49-F238E27FC236}">
                <a16:creationId xmlns:a16="http://schemas.microsoft.com/office/drawing/2014/main" id="{8665142C-582C-43A2-B78F-13FCDDBA5BC1}"/>
              </a:ext>
            </a:extLst>
          </p:cNvPr>
          <p:cNvGraphicFramePr>
            <a:graphicFrameLocks/>
          </p:cNvGraphicFramePr>
          <p:nvPr>
            <p:extLst>
              <p:ext uri="{D42A27DB-BD31-4B8C-83A1-F6EECF244321}">
                <p14:modId xmlns:p14="http://schemas.microsoft.com/office/powerpoint/2010/main" val="275282600"/>
              </p:ext>
            </p:extLst>
          </p:nvPr>
        </p:nvGraphicFramePr>
        <p:xfrm>
          <a:off x="303212" y="5029199"/>
          <a:ext cx="1801010" cy="1404651"/>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17023313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6EA4C5E-CB71-8641-A8A2-A2D49A6B614F}"/>
              </a:ext>
            </a:extLst>
          </p:cNvPr>
          <p:cNvPicPr>
            <a:picLocks noChangeAspect="1"/>
          </p:cNvPicPr>
          <p:nvPr/>
        </p:nvPicPr>
        <p:blipFill>
          <a:blip r:embed="rId3"/>
          <a:stretch>
            <a:fillRect/>
          </a:stretch>
        </p:blipFill>
        <p:spPr>
          <a:xfrm>
            <a:off x="379412" y="852544"/>
            <a:ext cx="7200900" cy="5295900"/>
          </a:xfrm>
          <a:prstGeom prst="rect">
            <a:avLst/>
          </a:prstGeom>
        </p:spPr>
      </p:pic>
      <p:graphicFrame>
        <p:nvGraphicFramePr>
          <p:cNvPr id="9" name="Diagram 8"/>
          <p:cNvGraphicFramePr/>
          <p:nvPr>
            <p:extLst>
              <p:ext uri="{D42A27DB-BD31-4B8C-83A1-F6EECF244321}">
                <p14:modId xmlns:p14="http://schemas.microsoft.com/office/powerpoint/2010/main" val="2269864886"/>
              </p:ext>
            </p:extLst>
          </p:nvPr>
        </p:nvGraphicFramePr>
        <p:xfrm>
          <a:off x="7999412" y="712844"/>
          <a:ext cx="2133600" cy="54102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10" name="Content Placeholder 2">
            <a:extLst>
              <a:ext uri="{FF2B5EF4-FFF2-40B4-BE49-F238E27FC236}">
                <a16:creationId xmlns:a16="http://schemas.microsoft.com/office/drawing/2014/main" id="{E55A3CA3-9FC3-4863-90FC-48C4DF04D3E4}"/>
              </a:ext>
            </a:extLst>
          </p:cNvPr>
          <p:cNvGraphicFramePr>
            <a:graphicFrameLocks/>
          </p:cNvGraphicFramePr>
          <p:nvPr>
            <p:extLst>
              <p:ext uri="{D42A27DB-BD31-4B8C-83A1-F6EECF244321}">
                <p14:modId xmlns:p14="http://schemas.microsoft.com/office/powerpoint/2010/main" val="1668737424"/>
              </p:ext>
            </p:extLst>
          </p:nvPr>
        </p:nvGraphicFramePr>
        <p:xfrm>
          <a:off x="303211" y="5029199"/>
          <a:ext cx="1867111" cy="1415668"/>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10002338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 8"/>
          <p:cNvGraphicFramePr/>
          <p:nvPr>
            <p:extLst>
              <p:ext uri="{D42A27DB-BD31-4B8C-83A1-F6EECF244321}">
                <p14:modId xmlns:p14="http://schemas.microsoft.com/office/powerpoint/2010/main" val="2822991309"/>
              </p:ext>
            </p:extLst>
          </p:nvPr>
        </p:nvGraphicFramePr>
        <p:xfrm>
          <a:off x="8456612" y="1676400"/>
          <a:ext cx="1867111" cy="456377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Content Placeholder 2">
            <a:extLst>
              <a:ext uri="{FF2B5EF4-FFF2-40B4-BE49-F238E27FC236}">
                <a16:creationId xmlns:a16="http://schemas.microsoft.com/office/drawing/2014/main" id="{1C3D3201-7073-40A7-95E1-38F2AE6C85C0}"/>
              </a:ext>
            </a:extLst>
          </p:cNvPr>
          <p:cNvGraphicFramePr>
            <a:graphicFrameLocks/>
          </p:cNvGraphicFramePr>
          <p:nvPr>
            <p:extLst>
              <p:ext uri="{D42A27DB-BD31-4B8C-83A1-F6EECF244321}">
                <p14:modId xmlns:p14="http://schemas.microsoft.com/office/powerpoint/2010/main" val="883892428"/>
              </p:ext>
            </p:extLst>
          </p:nvPr>
        </p:nvGraphicFramePr>
        <p:xfrm>
          <a:off x="303211" y="5029199"/>
          <a:ext cx="1867111" cy="141566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5" name="Picture 4">
            <a:extLst>
              <a:ext uri="{FF2B5EF4-FFF2-40B4-BE49-F238E27FC236}">
                <a16:creationId xmlns:a16="http://schemas.microsoft.com/office/drawing/2014/main" id="{C0A84715-6534-2341-9778-321A8AEBD50B}"/>
              </a:ext>
            </a:extLst>
          </p:cNvPr>
          <p:cNvPicPr>
            <a:picLocks noChangeAspect="1"/>
          </p:cNvPicPr>
          <p:nvPr/>
        </p:nvPicPr>
        <p:blipFill>
          <a:blip r:embed="rId13"/>
          <a:stretch>
            <a:fillRect/>
          </a:stretch>
        </p:blipFill>
        <p:spPr>
          <a:xfrm>
            <a:off x="2360612" y="1425789"/>
            <a:ext cx="5400000" cy="4006421"/>
          </a:xfrm>
          <a:prstGeom prst="rect">
            <a:avLst/>
          </a:prstGeom>
        </p:spPr>
      </p:pic>
    </p:spTree>
    <p:extLst>
      <p:ext uri="{BB962C8B-B14F-4D97-AF65-F5344CB8AC3E}">
        <p14:creationId xmlns:p14="http://schemas.microsoft.com/office/powerpoint/2010/main" val="5474440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3212" y="1752600"/>
            <a:ext cx="8610600" cy="3349542"/>
          </a:xfrm>
        </p:spPr>
        <p:txBody>
          <a:bodyPr/>
          <a:lstStyle/>
          <a:p>
            <a:r>
              <a:rPr lang="en-US" sz="5400" dirty="0"/>
              <a:t>Chapter 2</a:t>
            </a:r>
            <a:br>
              <a:rPr lang="en-US" sz="5400" dirty="0"/>
            </a:br>
            <a:r>
              <a:rPr lang="en-US" sz="5400" dirty="0"/>
              <a:t>Installation and Setup</a:t>
            </a:r>
            <a:endParaRPr lang="en-CA" sz="5400" dirty="0"/>
          </a:p>
        </p:txBody>
      </p:sp>
    </p:spTree>
    <p:extLst>
      <p:ext uri="{BB962C8B-B14F-4D97-AF65-F5344CB8AC3E}">
        <p14:creationId xmlns:p14="http://schemas.microsoft.com/office/powerpoint/2010/main" val="5789648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2">
            <a:extLst>
              <a:ext uri="{FF2B5EF4-FFF2-40B4-BE49-F238E27FC236}">
                <a16:creationId xmlns:a16="http://schemas.microsoft.com/office/drawing/2014/main" id="{9CCA9978-898A-4794-AC31-0B4CF1DAFE3D}"/>
              </a:ext>
            </a:extLst>
          </p:cNvPr>
          <p:cNvGraphicFramePr>
            <a:graphicFrameLocks/>
          </p:cNvGraphicFramePr>
          <p:nvPr>
            <p:extLst>
              <p:ext uri="{D42A27DB-BD31-4B8C-83A1-F6EECF244321}">
                <p14:modId xmlns:p14="http://schemas.microsoft.com/office/powerpoint/2010/main" val="4210278610"/>
              </p:ext>
            </p:extLst>
          </p:nvPr>
        </p:nvGraphicFramePr>
        <p:xfrm>
          <a:off x="303211" y="5029199"/>
          <a:ext cx="1867111" cy="14156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5" name="Diagram 4">
            <a:extLst>
              <a:ext uri="{FF2B5EF4-FFF2-40B4-BE49-F238E27FC236}">
                <a16:creationId xmlns:a16="http://schemas.microsoft.com/office/drawing/2014/main" id="{837C71D2-2A0C-074B-A918-36CDB24481F3}"/>
              </a:ext>
            </a:extLst>
          </p:cNvPr>
          <p:cNvGraphicFramePr/>
          <p:nvPr>
            <p:extLst>
              <p:ext uri="{D42A27DB-BD31-4B8C-83A1-F6EECF244321}">
                <p14:modId xmlns:p14="http://schemas.microsoft.com/office/powerpoint/2010/main" val="3445586942"/>
              </p:ext>
            </p:extLst>
          </p:nvPr>
        </p:nvGraphicFramePr>
        <p:xfrm>
          <a:off x="9166704" y="1905000"/>
          <a:ext cx="2133600" cy="468630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2" name="Picture 1">
            <a:extLst>
              <a:ext uri="{FF2B5EF4-FFF2-40B4-BE49-F238E27FC236}">
                <a16:creationId xmlns:a16="http://schemas.microsoft.com/office/drawing/2014/main" id="{26053A8D-B52A-F74E-A9E4-CE9BF7616566}"/>
              </a:ext>
            </a:extLst>
          </p:cNvPr>
          <p:cNvPicPr>
            <a:picLocks noChangeAspect="1"/>
          </p:cNvPicPr>
          <p:nvPr/>
        </p:nvPicPr>
        <p:blipFill>
          <a:blip r:embed="rId13"/>
          <a:stretch>
            <a:fillRect/>
          </a:stretch>
        </p:blipFill>
        <p:spPr>
          <a:xfrm>
            <a:off x="2055812" y="146803"/>
            <a:ext cx="6705600" cy="6444498"/>
          </a:xfrm>
          <a:prstGeom prst="rect">
            <a:avLst/>
          </a:prstGeom>
        </p:spPr>
      </p:pic>
    </p:spTree>
    <p:extLst>
      <p:ext uri="{BB962C8B-B14F-4D97-AF65-F5344CB8AC3E}">
        <p14:creationId xmlns:p14="http://schemas.microsoft.com/office/powerpoint/2010/main" val="200534851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D0EE3AB-1AF6-AB49-991C-C6A9582E1250}"/>
              </a:ext>
            </a:extLst>
          </p:cNvPr>
          <p:cNvPicPr>
            <a:picLocks noChangeAspect="1"/>
          </p:cNvPicPr>
          <p:nvPr/>
        </p:nvPicPr>
        <p:blipFill>
          <a:blip r:embed="rId3"/>
          <a:stretch>
            <a:fillRect/>
          </a:stretch>
        </p:blipFill>
        <p:spPr>
          <a:xfrm>
            <a:off x="1370012" y="838200"/>
            <a:ext cx="6248400" cy="5577216"/>
          </a:xfrm>
          <a:prstGeom prst="rect">
            <a:avLst/>
          </a:prstGeom>
        </p:spPr>
      </p:pic>
      <p:graphicFrame>
        <p:nvGraphicFramePr>
          <p:cNvPr id="5" name="Diagram 4"/>
          <p:cNvGraphicFramePr/>
          <p:nvPr>
            <p:extLst>
              <p:ext uri="{D42A27DB-BD31-4B8C-83A1-F6EECF244321}">
                <p14:modId xmlns:p14="http://schemas.microsoft.com/office/powerpoint/2010/main" val="4034840588"/>
              </p:ext>
            </p:extLst>
          </p:nvPr>
        </p:nvGraphicFramePr>
        <p:xfrm>
          <a:off x="7923212" y="1321758"/>
          <a:ext cx="3048000" cy="46101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7" name="Content Placeholder 2">
            <a:extLst>
              <a:ext uri="{FF2B5EF4-FFF2-40B4-BE49-F238E27FC236}">
                <a16:creationId xmlns:a16="http://schemas.microsoft.com/office/drawing/2014/main" id="{C952130B-C87F-43B3-802D-394E7D7AFEF1}"/>
              </a:ext>
            </a:extLst>
          </p:cNvPr>
          <p:cNvGraphicFramePr>
            <a:graphicFrameLocks/>
          </p:cNvGraphicFramePr>
          <p:nvPr>
            <p:extLst>
              <p:ext uri="{D42A27DB-BD31-4B8C-83A1-F6EECF244321}">
                <p14:modId xmlns:p14="http://schemas.microsoft.com/office/powerpoint/2010/main" val="1984151304"/>
              </p:ext>
            </p:extLst>
          </p:nvPr>
        </p:nvGraphicFramePr>
        <p:xfrm>
          <a:off x="303211" y="5029199"/>
          <a:ext cx="1867111" cy="1415668"/>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8211088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1F524BF-8BAE-BD43-A58F-7B3F560EAD4E}"/>
              </a:ext>
            </a:extLst>
          </p:cNvPr>
          <p:cNvPicPr>
            <a:picLocks noChangeAspect="1"/>
          </p:cNvPicPr>
          <p:nvPr/>
        </p:nvPicPr>
        <p:blipFill>
          <a:blip r:embed="rId3"/>
          <a:stretch>
            <a:fillRect/>
          </a:stretch>
        </p:blipFill>
        <p:spPr>
          <a:xfrm>
            <a:off x="836612" y="1066800"/>
            <a:ext cx="7257483" cy="4724400"/>
          </a:xfrm>
          <a:prstGeom prst="rect">
            <a:avLst/>
          </a:prstGeom>
        </p:spPr>
      </p:pic>
      <p:graphicFrame>
        <p:nvGraphicFramePr>
          <p:cNvPr id="5" name="Diagram 4"/>
          <p:cNvGraphicFramePr/>
          <p:nvPr>
            <p:extLst>
              <p:ext uri="{D42A27DB-BD31-4B8C-83A1-F6EECF244321}">
                <p14:modId xmlns:p14="http://schemas.microsoft.com/office/powerpoint/2010/main" val="2781061047"/>
              </p:ext>
            </p:extLst>
          </p:nvPr>
        </p:nvGraphicFramePr>
        <p:xfrm>
          <a:off x="8456612" y="1313302"/>
          <a:ext cx="2133600" cy="47244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7" name="Content Placeholder 2">
            <a:extLst>
              <a:ext uri="{FF2B5EF4-FFF2-40B4-BE49-F238E27FC236}">
                <a16:creationId xmlns:a16="http://schemas.microsoft.com/office/drawing/2014/main" id="{05D15540-95F3-4C20-8E7F-EADDA50B41CD}"/>
              </a:ext>
            </a:extLst>
          </p:cNvPr>
          <p:cNvGraphicFramePr>
            <a:graphicFrameLocks/>
          </p:cNvGraphicFramePr>
          <p:nvPr>
            <p:extLst>
              <p:ext uri="{D42A27DB-BD31-4B8C-83A1-F6EECF244321}">
                <p14:modId xmlns:p14="http://schemas.microsoft.com/office/powerpoint/2010/main" val="83135857"/>
              </p:ext>
            </p:extLst>
          </p:nvPr>
        </p:nvGraphicFramePr>
        <p:xfrm>
          <a:off x="303212" y="5366132"/>
          <a:ext cx="1823044" cy="134314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15577287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3198812" y="1669666"/>
            <a:ext cx="3822318" cy="3581401"/>
          </a:xfrm>
          <a:prstGeom prst="rect">
            <a:avLst/>
          </a:prstGeom>
        </p:spPr>
      </p:pic>
      <p:graphicFrame>
        <p:nvGraphicFramePr>
          <p:cNvPr id="5" name="Content Placeholder 2"/>
          <p:cNvGraphicFramePr>
            <a:graphicFrameLocks/>
          </p:cNvGraphicFramePr>
          <p:nvPr/>
        </p:nvGraphicFramePr>
        <p:xfrm>
          <a:off x="9688831" y="4876800"/>
          <a:ext cx="1905368" cy="1524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12" name="Diagram 11"/>
          <p:cNvGraphicFramePr/>
          <p:nvPr>
            <p:extLst>
              <p:ext uri="{D42A27DB-BD31-4B8C-83A1-F6EECF244321}">
                <p14:modId xmlns:p14="http://schemas.microsoft.com/office/powerpoint/2010/main" val="678963829"/>
              </p:ext>
            </p:extLst>
          </p:nvPr>
        </p:nvGraphicFramePr>
        <p:xfrm>
          <a:off x="7923212" y="2171700"/>
          <a:ext cx="1955297" cy="266700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graphicFrame>
        <p:nvGraphicFramePr>
          <p:cNvPr id="9" name="Content Placeholder 2">
            <a:extLst>
              <a:ext uri="{FF2B5EF4-FFF2-40B4-BE49-F238E27FC236}">
                <a16:creationId xmlns:a16="http://schemas.microsoft.com/office/drawing/2014/main" id="{1CDD35EF-340C-4BD8-8180-4AF3FC5B4124}"/>
              </a:ext>
            </a:extLst>
          </p:cNvPr>
          <p:cNvGraphicFramePr>
            <a:graphicFrameLocks/>
          </p:cNvGraphicFramePr>
          <p:nvPr>
            <p:extLst>
              <p:ext uri="{D42A27DB-BD31-4B8C-83A1-F6EECF244321}">
                <p14:modId xmlns:p14="http://schemas.microsoft.com/office/powerpoint/2010/main" val="1063057230"/>
              </p:ext>
            </p:extLst>
          </p:nvPr>
        </p:nvGraphicFramePr>
        <p:xfrm>
          <a:off x="303212" y="5366132"/>
          <a:ext cx="1823044" cy="1343140"/>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spTree>
    <p:extLst>
      <p:ext uri="{BB962C8B-B14F-4D97-AF65-F5344CB8AC3E}">
        <p14:creationId xmlns:p14="http://schemas.microsoft.com/office/powerpoint/2010/main" val="12365316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801309" y="1891456"/>
            <a:ext cx="6472968" cy="3619500"/>
          </a:xfrm>
          <a:prstGeom prst="rect">
            <a:avLst/>
          </a:prstGeom>
        </p:spPr>
      </p:pic>
      <p:graphicFrame>
        <p:nvGraphicFramePr>
          <p:cNvPr id="6" name="Content Placeholder 2">
            <a:extLst>
              <a:ext uri="{FF2B5EF4-FFF2-40B4-BE49-F238E27FC236}">
                <a16:creationId xmlns:a16="http://schemas.microsoft.com/office/drawing/2014/main" id="{CFB1A124-014E-44A6-BE8D-B5004B0FFF17}"/>
              </a:ext>
            </a:extLst>
          </p:cNvPr>
          <p:cNvGraphicFramePr>
            <a:graphicFrameLocks/>
          </p:cNvGraphicFramePr>
          <p:nvPr>
            <p:extLst>
              <p:ext uri="{D42A27DB-BD31-4B8C-83A1-F6EECF244321}">
                <p14:modId xmlns:p14="http://schemas.microsoft.com/office/powerpoint/2010/main" val="4089113978"/>
              </p:ext>
            </p:extLst>
          </p:nvPr>
        </p:nvGraphicFramePr>
        <p:xfrm>
          <a:off x="303212" y="5366132"/>
          <a:ext cx="1823044" cy="134314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4" name="Diagram 3">
            <a:extLst>
              <a:ext uri="{FF2B5EF4-FFF2-40B4-BE49-F238E27FC236}">
                <a16:creationId xmlns:a16="http://schemas.microsoft.com/office/drawing/2014/main" id="{AA88763C-02BF-FF49-AA2A-B45DFCB9094C}"/>
              </a:ext>
            </a:extLst>
          </p:cNvPr>
          <p:cNvGraphicFramePr/>
          <p:nvPr>
            <p:extLst>
              <p:ext uri="{D42A27DB-BD31-4B8C-83A1-F6EECF244321}">
                <p14:modId xmlns:p14="http://schemas.microsoft.com/office/powerpoint/2010/main" val="1222293708"/>
              </p:ext>
            </p:extLst>
          </p:nvPr>
        </p:nvGraphicFramePr>
        <p:xfrm>
          <a:off x="8456612" y="2209800"/>
          <a:ext cx="2286000" cy="4287691"/>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34205449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3212" y="1752600"/>
            <a:ext cx="8610600" cy="3349542"/>
          </a:xfrm>
        </p:spPr>
        <p:txBody>
          <a:bodyPr/>
          <a:lstStyle/>
          <a:p>
            <a:r>
              <a:rPr lang="en-US" sz="5400" dirty="0"/>
              <a:t>End</a:t>
            </a:r>
            <a:endParaRPr lang="en-CA" sz="5400" dirty="0"/>
          </a:p>
        </p:txBody>
      </p:sp>
    </p:spTree>
    <p:extLst>
      <p:ext uri="{BB962C8B-B14F-4D97-AF65-F5344CB8AC3E}">
        <p14:creationId xmlns:p14="http://schemas.microsoft.com/office/powerpoint/2010/main" val="7718770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D9FB113-6EDF-CD44-A77C-1D608330866F}"/>
              </a:ext>
            </a:extLst>
          </p:cNvPr>
          <p:cNvPicPr>
            <a:picLocks noChangeAspect="1"/>
          </p:cNvPicPr>
          <p:nvPr/>
        </p:nvPicPr>
        <p:blipFill>
          <a:blip r:embed="rId3"/>
          <a:stretch>
            <a:fillRect/>
          </a:stretch>
        </p:blipFill>
        <p:spPr>
          <a:xfrm>
            <a:off x="836612" y="2057400"/>
            <a:ext cx="4762500" cy="4127500"/>
          </a:xfrm>
          <a:prstGeom prst="rect">
            <a:avLst/>
          </a:prstGeom>
        </p:spPr>
      </p:pic>
    </p:spTree>
    <p:extLst>
      <p:ext uri="{BB962C8B-B14F-4D97-AF65-F5344CB8AC3E}">
        <p14:creationId xmlns:p14="http://schemas.microsoft.com/office/powerpoint/2010/main" val="17935577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p:cNvGraphicFramePr>
          <p:nvPr>
            <p:extLst>
              <p:ext uri="{D42A27DB-BD31-4B8C-83A1-F6EECF244321}">
                <p14:modId xmlns:p14="http://schemas.microsoft.com/office/powerpoint/2010/main" val="4195861177"/>
              </p:ext>
            </p:extLst>
          </p:nvPr>
        </p:nvGraphicFramePr>
        <p:xfrm>
          <a:off x="3122612" y="1066800"/>
          <a:ext cx="6705600" cy="4724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102920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p:cNvGraphicFramePr>
          <p:nvPr>
            <p:extLst>
              <p:ext uri="{D42A27DB-BD31-4B8C-83A1-F6EECF244321}">
                <p14:modId xmlns:p14="http://schemas.microsoft.com/office/powerpoint/2010/main" val="2450892519"/>
              </p:ext>
            </p:extLst>
          </p:nvPr>
        </p:nvGraphicFramePr>
        <p:xfrm>
          <a:off x="2208212" y="990600"/>
          <a:ext cx="6705600" cy="4724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643885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608012" y="3063131"/>
            <a:ext cx="3808413"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setting it up</a:t>
            </a:r>
          </a:p>
        </p:txBody>
      </p:sp>
      <p:sp>
        <p:nvSpPr>
          <p:cNvPr id="10" name="Title 9"/>
          <p:cNvSpPr>
            <a:spLocks noGrp="1"/>
          </p:cNvSpPr>
          <p:nvPr>
            <p:ph type="title"/>
          </p:nvPr>
        </p:nvSpPr>
        <p:spPr/>
        <p:txBody>
          <a:bodyPr/>
          <a:lstStyle/>
          <a:p>
            <a:r>
              <a:rPr lang="en-CA" dirty="0"/>
              <a:t>Setting it up</a:t>
            </a:r>
          </a:p>
        </p:txBody>
      </p:sp>
    </p:spTree>
    <p:extLst>
      <p:ext uri="{BB962C8B-B14F-4D97-AF65-F5344CB8AC3E}">
        <p14:creationId xmlns:p14="http://schemas.microsoft.com/office/powerpoint/2010/main" val="15986013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650875"/>
            <a:ext cx="7085013" cy="2436812"/>
          </a:xfrm>
          <a:prstGeom prst="rect">
            <a:avLst/>
          </a:prstGeom>
        </p:spPr>
        <p:txBody>
          <a:bodyPr/>
          <a:lstStyle/>
          <a:p>
            <a:r>
              <a:rPr lang="en-CA" dirty="0"/>
              <a:t>environment options</a:t>
            </a:r>
          </a:p>
        </p:txBody>
      </p:sp>
      <p:sp>
        <p:nvSpPr>
          <p:cNvPr id="4" name="Title 1"/>
          <p:cNvSpPr txBox="1">
            <a:spLocks/>
          </p:cNvSpPr>
          <p:nvPr/>
        </p:nvSpPr>
        <p:spPr>
          <a:xfrm>
            <a:off x="0" y="5867400"/>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setting it up</a:t>
            </a:r>
          </a:p>
        </p:txBody>
      </p:sp>
      <p:graphicFrame>
        <p:nvGraphicFramePr>
          <p:cNvPr id="6" name="Content Placeholder 2"/>
          <p:cNvGraphicFramePr>
            <a:graphicFrameLocks/>
          </p:cNvGraphicFramePr>
          <p:nvPr>
            <p:extLst>
              <p:ext uri="{D42A27DB-BD31-4B8C-83A1-F6EECF244321}">
                <p14:modId xmlns:p14="http://schemas.microsoft.com/office/powerpoint/2010/main" val="2308619076"/>
              </p:ext>
            </p:extLst>
          </p:nvPr>
        </p:nvGraphicFramePr>
        <p:xfrm>
          <a:off x="303212" y="5029200"/>
          <a:ext cx="1765300" cy="139857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Picture 6">
            <a:extLst>
              <a:ext uri="{FF2B5EF4-FFF2-40B4-BE49-F238E27FC236}">
                <a16:creationId xmlns:a16="http://schemas.microsoft.com/office/drawing/2014/main" id="{8E78E864-3E94-BF41-B178-414244370CC5}"/>
              </a:ext>
            </a:extLst>
          </p:cNvPr>
          <p:cNvPicPr/>
          <p:nvPr/>
        </p:nvPicPr>
        <p:blipFill>
          <a:blip r:embed="rId8"/>
          <a:stretch>
            <a:fillRect/>
          </a:stretch>
        </p:blipFill>
        <p:spPr>
          <a:xfrm>
            <a:off x="1865312" y="1869281"/>
            <a:ext cx="8458200" cy="3581400"/>
          </a:xfrm>
          <a:prstGeom prst="rect">
            <a:avLst/>
          </a:prstGeom>
        </p:spPr>
      </p:pic>
    </p:spTree>
    <p:extLst>
      <p:ext uri="{BB962C8B-B14F-4D97-AF65-F5344CB8AC3E}">
        <p14:creationId xmlns:p14="http://schemas.microsoft.com/office/powerpoint/2010/main" val="14375146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2"/>
          <p:cNvGraphicFramePr>
            <a:graphicFrameLocks/>
          </p:cNvGraphicFramePr>
          <p:nvPr>
            <p:extLst>
              <p:ext uri="{D42A27DB-BD31-4B8C-83A1-F6EECF244321}">
                <p14:modId xmlns:p14="http://schemas.microsoft.com/office/powerpoint/2010/main" val="525236549"/>
              </p:ext>
            </p:extLst>
          </p:nvPr>
        </p:nvGraphicFramePr>
        <p:xfrm>
          <a:off x="671511" y="1917700"/>
          <a:ext cx="3735389" cy="3200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itle 1"/>
          <p:cNvSpPr txBox="1">
            <a:spLocks/>
          </p:cNvSpPr>
          <p:nvPr/>
        </p:nvSpPr>
        <p:spPr>
          <a:xfrm>
            <a:off x="0" y="6126262"/>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setting it up</a:t>
            </a:r>
          </a:p>
        </p:txBody>
      </p:sp>
      <p:graphicFrame>
        <p:nvGraphicFramePr>
          <p:cNvPr id="9" name="Content Placeholder 2"/>
          <p:cNvGraphicFramePr>
            <a:graphicFrameLocks/>
          </p:cNvGraphicFramePr>
          <p:nvPr>
            <p:extLst>
              <p:ext uri="{D42A27DB-BD31-4B8C-83A1-F6EECF244321}">
                <p14:modId xmlns:p14="http://schemas.microsoft.com/office/powerpoint/2010/main" val="1273960886"/>
              </p:ext>
            </p:extLst>
          </p:nvPr>
        </p:nvGraphicFramePr>
        <p:xfrm>
          <a:off x="3960812" y="4191000"/>
          <a:ext cx="1765300" cy="139857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8295765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C63BAF8-1521-A442-8E03-891A712937D4}"/>
              </a:ext>
            </a:extLst>
          </p:cNvPr>
          <p:cNvPicPr>
            <a:picLocks noChangeAspect="1"/>
          </p:cNvPicPr>
          <p:nvPr/>
        </p:nvPicPr>
        <p:blipFill>
          <a:blip r:embed="rId3"/>
          <a:stretch>
            <a:fillRect/>
          </a:stretch>
        </p:blipFill>
        <p:spPr>
          <a:xfrm>
            <a:off x="1598612" y="555397"/>
            <a:ext cx="5807869" cy="5910481"/>
          </a:xfrm>
          <a:prstGeom prst="rect">
            <a:avLst/>
          </a:prstGeom>
        </p:spPr>
      </p:pic>
      <p:sp>
        <p:nvSpPr>
          <p:cNvPr id="4" name="Title 1"/>
          <p:cNvSpPr txBox="1">
            <a:spLocks/>
          </p:cNvSpPr>
          <p:nvPr/>
        </p:nvSpPr>
        <p:spPr>
          <a:xfrm>
            <a:off x="0" y="5867400"/>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file tab</a:t>
            </a:r>
          </a:p>
        </p:txBody>
      </p:sp>
      <p:graphicFrame>
        <p:nvGraphicFramePr>
          <p:cNvPr id="9" name="Diagram 8"/>
          <p:cNvGraphicFramePr/>
          <p:nvPr>
            <p:extLst>
              <p:ext uri="{D42A27DB-BD31-4B8C-83A1-F6EECF244321}">
                <p14:modId xmlns:p14="http://schemas.microsoft.com/office/powerpoint/2010/main" val="3285644451"/>
              </p:ext>
            </p:extLst>
          </p:nvPr>
        </p:nvGraphicFramePr>
        <p:xfrm>
          <a:off x="7999412" y="1447800"/>
          <a:ext cx="3048000" cy="4191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6" name="Content Placeholder 2">
            <a:extLst>
              <a:ext uri="{FF2B5EF4-FFF2-40B4-BE49-F238E27FC236}">
                <a16:creationId xmlns:a16="http://schemas.microsoft.com/office/drawing/2014/main" id="{0982C0C9-B357-4D77-BB8C-DC92473B4E93}"/>
              </a:ext>
            </a:extLst>
          </p:cNvPr>
          <p:cNvGraphicFramePr>
            <a:graphicFrameLocks/>
          </p:cNvGraphicFramePr>
          <p:nvPr>
            <p:extLst>
              <p:ext uri="{D42A27DB-BD31-4B8C-83A1-F6EECF244321}">
                <p14:modId xmlns:p14="http://schemas.microsoft.com/office/powerpoint/2010/main" val="2336725715"/>
              </p:ext>
            </p:extLst>
          </p:nvPr>
        </p:nvGraphicFramePr>
        <p:xfrm>
          <a:off x="303212" y="5029200"/>
          <a:ext cx="1765300" cy="1398578"/>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8713860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Template Blue Intuit Logo">
  <a:themeElements>
    <a:clrScheme name="Intuit Brand Colors 2014">
      <a:dk1>
        <a:sysClr val="windowText" lastClr="000000"/>
      </a:dk1>
      <a:lt1>
        <a:sysClr val="window" lastClr="FFFFFF"/>
      </a:lt1>
      <a:dk2>
        <a:srgbClr val="3F3F3F"/>
      </a:dk2>
      <a:lt2>
        <a:srgbClr val="2CA01C"/>
      </a:lt2>
      <a:accent1>
        <a:srgbClr val="365EBF"/>
      </a:accent1>
      <a:accent2>
        <a:srgbClr val="D52B1E"/>
      </a:accent2>
      <a:accent3>
        <a:srgbClr val="505050"/>
      </a:accent3>
      <a:accent4>
        <a:srgbClr val="0098CD"/>
      </a:accent4>
      <a:accent5>
        <a:srgbClr val="E77700"/>
      </a:accent5>
      <a:accent6>
        <a:srgbClr val="FEC82A"/>
      </a:accent6>
      <a:hlink>
        <a:srgbClr val="365EBF"/>
      </a:hlink>
      <a:folHlink>
        <a:srgbClr val="193048"/>
      </a:folHlink>
    </a:clrScheme>
    <a:fontScheme name="Intuit Standard Them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01 Intuit Template - White Background - Widescreen [Read-Only]" id="{F225971D-B64B-41D1-A728-2636CCD64A25}" vid="{97301D22-312C-4BB4-A39D-16453ABE494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 Intuit Template - White Background - Widescreen July 2014</Template>
  <TotalTime>37395</TotalTime>
  <Words>1962</Words>
  <Application>Microsoft Macintosh PowerPoint</Application>
  <PresentationFormat>Custom</PresentationFormat>
  <Paragraphs>240</Paragraphs>
  <Slides>25</Slides>
  <Notes>2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3" baseType="lpstr">
      <vt:lpstr>Arial</vt:lpstr>
      <vt:lpstr>Avenir Next Medium</vt:lpstr>
      <vt:lpstr>Avenir Next Regular</vt:lpstr>
      <vt:lpstr>Calibri</vt:lpstr>
      <vt:lpstr>Times</vt:lpstr>
      <vt:lpstr>Wingdings</vt:lpstr>
      <vt:lpstr>1_White Template Blue Intuit Logo</vt:lpstr>
      <vt:lpstr>think-cell Slide</vt:lpstr>
      <vt:lpstr>Learning about Taxes with Intuit ProFile  </vt:lpstr>
      <vt:lpstr>Chapter 2 Installation and Setup</vt:lpstr>
      <vt:lpstr>PowerPoint Presentation</vt:lpstr>
      <vt:lpstr>PowerPoint Presentation</vt:lpstr>
      <vt:lpstr>PowerPoint Presentation</vt:lpstr>
      <vt:lpstr>Setting it up</vt:lpstr>
      <vt:lpstr>environment options</vt:lpstr>
      <vt:lpstr>PowerPoint Presentation</vt:lpstr>
      <vt:lpstr>PowerPoint Presentation</vt:lpstr>
      <vt:lpstr>PowerPoint Presentation</vt:lpstr>
      <vt:lpstr>additional settings</vt:lpstr>
      <vt:lpstr>PowerPoint Presentation</vt:lpstr>
      <vt:lpstr>PowerPoint Presentation</vt:lpstr>
      <vt:lpstr>PowerPoint Presentation</vt:lpstr>
      <vt:lpstr>PowerPoint Presentation</vt:lpstr>
      <vt:lpstr>module op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n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TM Offer Template</dc:title>
  <dc:creator>Magner, Barb</dc:creator>
  <cp:lastModifiedBy>Michael Di Lauro</cp:lastModifiedBy>
  <cp:revision>604</cp:revision>
  <cp:lastPrinted>2017-01-10T23:11:41Z</cp:lastPrinted>
  <dcterms:created xsi:type="dcterms:W3CDTF">2014-09-11T15:23:46Z</dcterms:created>
  <dcterms:modified xsi:type="dcterms:W3CDTF">2020-12-13T17:35:44Z</dcterms:modified>
</cp:coreProperties>
</file>